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2" r:id="rId5"/>
  </p:sldMasterIdLst>
  <p:notesMasterIdLst>
    <p:notesMasterId r:id="rId31"/>
  </p:notesMasterIdLst>
  <p:handoutMasterIdLst>
    <p:handoutMasterId r:id="rId32"/>
  </p:handoutMasterIdLst>
  <p:sldIdLst>
    <p:sldId id="2800" r:id="rId6"/>
    <p:sldId id="2777" r:id="rId7"/>
    <p:sldId id="2779" r:id="rId8"/>
    <p:sldId id="2780" r:id="rId9"/>
    <p:sldId id="2781" r:id="rId10"/>
    <p:sldId id="2782" r:id="rId11"/>
    <p:sldId id="2783" r:id="rId12"/>
    <p:sldId id="330" r:id="rId13"/>
    <p:sldId id="2861" r:id="rId14"/>
    <p:sldId id="312" r:id="rId15"/>
    <p:sldId id="2771" r:id="rId16"/>
    <p:sldId id="308" r:id="rId17"/>
    <p:sldId id="2855" r:id="rId18"/>
    <p:sldId id="2849" r:id="rId19"/>
    <p:sldId id="2856" r:id="rId20"/>
    <p:sldId id="2838" r:id="rId21"/>
    <p:sldId id="2848" r:id="rId22"/>
    <p:sldId id="2847" r:id="rId23"/>
    <p:sldId id="2858" r:id="rId24"/>
    <p:sldId id="2857" r:id="rId25"/>
    <p:sldId id="2859" r:id="rId26"/>
    <p:sldId id="2860" r:id="rId27"/>
    <p:sldId id="2830" r:id="rId28"/>
    <p:sldId id="345" r:id="rId29"/>
    <p:sldId id="2754" r:id="rId30"/>
  </p:sldIdLst>
  <p:sldSz cx="13444538" cy="7562850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39" userDrawn="1">
          <p15:clr>
            <a:srgbClr val="A4A3A4"/>
          </p15:clr>
        </p15:guide>
        <p15:guide id="3" orient="horz" pos="4446" userDrawn="1">
          <p15:clr>
            <a:srgbClr val="A4A3A4"/>
          </p15:clr>
        </p15:guide>
        <p15:guide id="4" orient="horz" pos="2814" userDrawn="1">
          <p15:clr>
            <a:srgbClr val="A4A3A4"/>
          </p15:clr>
        </p15:guide>
        <p15:guide id="6" pos="1218" userDrawn="1">
          <p15:clr>
            <a:srgbClr val="A4A3A4"/>
          </p15:clr>
        </p15:guide>
        <p15:guide id="7" pos="79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AAC7"/>
    <a:srgbClr val="9B5BA4"/>
    <a:srgbClr val="D969CC"/>
    <a:srgbClr val="595959"/>
    <a:srgbClr val="D7CED8"/>
    <a:srgbClr val="95519E"/>
    <a:srgbClr val="9B4F96"/>
    <a:srgbClr val="7A3E7F"/>
    <a:srgbClr val="B978B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F714BB7-3DDA-4079-B18B-73D9DECB2F40}" v="9" dt="2021-03-03T15:51:54.43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82371"/>
  </p:normalViewPr>
  <p:slideViewPr>
    <p:cSldViewPr snapToGrid="0">
      <p:cViewPr varScale="1">
        <p:scale>
          <a:sx n="66" d="100"/>
          <a:sy n="66" d="100"/>
        </p:scale>
        <p:origin x="627" y="-117"/>
      </p:cViewPr>
      <p:guideLst>
        <p:guide orient="horz" pos="1339"/>
        <p:guide orient="horz" pos="4446"/>
        <p:guide orient="horz" pos="2814"/>
        <p:guide pos="1218"/>
        <p:guide pos="79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3" d="100"/>
        <a:sy n="133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phie Wannop" userId="189c5b27-3d68-45c0-ac57-44a94daef699" providerId="ADAL" clId="{1F2557EB-4E49-4ECE-AFE1-D5CBAA79B291}"/>
    <pc:docChg chg="modSld">
      <pc:chgData name="Sophie Wannop" userId="189c5b27-3d68-45c0-ac57-44a94daef699" providerId="ADAL" clId="{1F2557EB-4E49-4ECE-AFE1-D5CBAA79B291}" dt="2021-03-03T10:52:42.794" v="18" actId="20577"/>
      <pc:docMkLst>
        <pc:docMk/>
      </pc:docMkLst>
      <pc:sldChg chg="modSp mod">
        <pc:chgData name="Sophie Wannop" userId="189c5b27-3d68-45c0-ac57-44a94daef699" providerId="ADAL" clId="{1F2557EB-4E49-4ECE-AFE1-D5CBAA79B291}" dt="2021-03-03T10:50:29.227" v="17" actId="20577"/>
        <pc:sldMkLst>
          <pc:docMk/>
          <pc:sldMk cId="2928681275" sldId="2800"/>
        </pc:sldMkLst>
        <pc:spChg chg="mod">
          <ac:chgData name="Sophie Wannop" userId="189c5b27-3d68-45c0-ac57-44a94daef699" providerId="ADAL" clId="{1F2557EB-4E49-4ECE-AFE1-D5CBAA79B291}" dt="2021-03-03T10:50:29.227" v="17" actId="20577"/>
          <ac:spMkLst>
            <pc:docMk/>
            <pc:sldMk cId="2928681275" sldId="2800"/>
            <ac:spMk id="6" creationId="{A886E60C-D6B6-476F-8669-CE4A7CE5C1B9}"/>
          </ac:spMkLst>
        </pc:spChg>
      </pc:sldChg>
      <pc:sldChg chg="modSp mod">
        <pc:chgData name="Sophie Wannop" userId="189c5b27-3d68-45c0-ac57-44a94daef699" providerId="ADAL" clId="{1F2557EB-4E49-4ECE-AFE1-D5CBAA79B291}" dt="2021-03-03T10:52:42.794" v="18" actId="20577"/>
        <pc:sldMkLst>
          <pc:docMk/>
          <pc:sldMk cId="2550876768" sldId="2830"/>
        </pc:sldMkLst>
        <pc:spChg chg="mod">
          <ac:chgData name="Sophie Wannop" userId="189c5b27-3d68-45c0-ac57-44a94daef699" providerId="ADAL" clId="{1F2557EB-4E49-4ECE-AFE1-D5CBAA79B291}" dt="2021-03-03T10:52:42.794" v="18" actId="20577"/>
          <ac:spMkLst>
            <pc:docMk/>
            <pc:sldMk cId="2550876768" sldId="2830"/>
            <ac:spMk id="17" creationId="{69F44FFC-F5CD-C14F-B985-ADF53DD13E66}"/>
          </ac:spMkLst>
        </pc:spChg>
      </pc:sldChg>
    </pc:docChg>
  </pc:docChgLst>
  <pc:docChgLst>
    <pc:chgData name="Sophie Wannop" userId="189c5b27-3d68-45c0-ac57-44a94daef699" providerId="ADAL" clId="{AF714BB7-3DDA-4079-B18B-73D9DECB2F40}"/>
    <pc:docChg chg="undo custSel addSld delSld modSld">
      <pc:chgData name="Sophie Wannop" userId="189c5b27-3d68-45c0-ac57-44a94daef699" providerId="ADAL" clId="{AF714BB7-3DDA-4079-B18B-73D9DECB2F40}" dt="2021-03-03T15:51:54.418" v="330"/>
      <pc:docMkLst>
        <pc:docMk/>
      </pc:docMkLst>
      <pc:sldChg chg="modSp mod">
        <pc:chgData name="Sophie Wannop" userId="189c5b27-3d68-45c0-ac57-44a94daef699" providerId="ADAL" clId="{AF714BB7-3DDA-4079-B18B-73D9DECB2F40}" dt="2021-03-03T15:46:05.392" v="91" actId="20577"/>
        <pc:sldMkLst>
          <pc:docMk/>
          <pc:sldMk cId="3168793419" sldId="2849"/>
        </pc:sldMkLst>
        <pc:spChg chg="mod">
          <ac:chgData name="Sophie Wannop" userId="189c5b27-3d68-45c0-ac57-44a94daef699" providerId="ADAL" clId="{AF714BB7-3DDA-4079-B18B-73D9DECB2F40}" dt="2021-03-03T15:46:05.392" v="91" actId="20577"/>
          <ac:spMkLst>
            <pc:docMk/>
            <pc:sldMk cId="3168793419" sldId="2849"/>
            <ac:spMk id="4" creationId="{1816CB0D-4AD3-4C0B-8D72-034ED7947ADE}"/>
          </ac:spMkLst>
        </pc:spChg>
      </pc:sldChg>
      <pc:sldChg chg="addSp modSp mod">
        <pc:chgData name="Sophie Wannop" userId="189c5b27-3d68-45c0-ac57-44a94daef699" providerId="ADAL" clId="{AF714BB7-3DDA-4079-B18B-73D9DECB2F40}" dt="2021-03-03T15:51:00.010" v="322" actId="207"/>
        <pc:sldMkLst>
          <pc:docMk/>
          <pc:sldMk cId="365708484" sldId="2859"/>
        </pc:sldMkLst>
        <pc:spChg chg="add mod ord">
          <ac:chgData name="Sophie Wannop" userId="189c5b27-3d68-45c0-ac57-44a94daef699" providerId="ADAL" clId="{AF714BB7-3DDA-4079-B18B-73D9DECB2F40}" dt="2021-03-03T15:49:20.723" v="243" actId="207"/>
          <ac:spMkLst>
            <pc:docMk/>
            <pc:sldMk cId="365708484" sldId="2859"/>
            <ac:spMk id="2" creationId="{45F953D0-DF0B-4D32-B350-93C3A4EC06E3}"/>
          </ac:spMkLst>
        </pc:spChg>
        <pc:spChg chg="add mod">
          <ac:chgData name="Sophie Wannop" userId="189c5b27-3d68-45c0-ac57-44a94daef699" providerId="ADAL" clId="{AF714BB7-3DDA-4079-B18B-73D9DECB2F40}" dt="2021-03-03T15:51:00.010" v="322" actId="207"/>
          <ac:spMkLst>
            <pc:docMk/>
            <pc:sldMk cId="365708484" sldId="2859"/>
            <ac:spMk id="4" creationId="{515F5743-7520-408E-AC17-D4BE6B4CBC1E}"/>
          </ac:spMkLst>
        </pc:spChg>
        <pc:picChg chg="mod">
          <ac:chgData name="Sophie Wannop" userId="189c5b27-3d68-45c0-ac57-44a94daef699" providerId="ADAL" clId="{AF714BB7-3DDA-4079-B18B-73D9DECB2F40}" dt="2021-03-03T15:48:34.818" v="179" actId="1076"/>
          <ac:picMkLst>
            <pc:docMk/>
            <pc:sldMk cId="365708484" sldId="2859"/>
            <ac:picMk id="3" creationId="{BA5DD6DA-9D9C-41C7-A2E0-988015CBA935}"/>
          </ac:picMkLst>
        </pc:picChg>
      </pc:sldChg>
      <pc:sldChg chg="addSp delSp modSp mod">
        <pc:chgData name="Sophie Wannop" userId="189c5b27-3d68-45c0-ac57-44a94daef699" providerId="ADAL" clId="{AF714BB7-3DDA-4079-B18B-73D9DECB2F40}" dt="2021-03-03T15:51:54.418" v="330"/>
        <pc:sldMkLst>
          <pc:docMk/>
          <pc:sldMk cId="1006165304" sldId="2860"/>
        </pc:sldMkLst>
        <pc:picChg chg="add mod">
          <ac:chgData name="Sophie Wannop" userId="189c5b27-3d68-45c0-ac57-44a94daef699" providerId="ADAL" clId="{AF714BB7-3DDA-4079-B18B-73D9DECB2F40}" dt="2021-03-03T15:51:54.418" v="330"/>
          <ac:picMkLst>
            <pc:docMk/>
            <pc:sldMk cId="1006165304" sldId="2860"/>
            <ac:picMk id="3" creationId="{6B389905-A6F3-4CB9-B04B-B5CA0FEEEEDD}"/>
          </ac:picMkLst>
        </pc:picChg>
        <pc:picChg chg="del">
          <ac:chgData name="Sophie Wannop" userId="189c5b27-3d68-45c0-ac57-44a94daef699" providerId="ADAL" clId="{AF714BB7-3DDA-4079-B18B-73D9DECB2F40}" dt="2021-03-03T15:51:36.080" v="323" actId="478"/>
          <ac:picMkLst>
            <pc:docMk/>
            <pc:sldMk cId="1006165304" sldId="2860"/>
            <ac:picMk id="4" creationId="{812C72CD-9EE1-4B71-8203-E7CDC95B5EF6}"/>
          </ac:picMkLst>
        </pc:picChg>
      </pc:sldChg>
      <pc:sldChg chg="new del">
        <pc:chgData name="Sophie Wannop" userId="189c5b27-3d68-45c0-ac57-44a94daef699" providerId="ADAL" clId="{AF714BB7-3DDA-4079-B18B-73D9DECB2F40}" dt="2021-03-03T15:43:30.104" v="1" actId="47"/>
        <pc:sldMkLst>
          <pc:docMk/>
          <pc:sldMk cId="351906198" sldId="2861"/>
        </pc:sldMkLst>
      </pc:sldChg>
      <pc:sldChg chg="addSp delSp modSp add mod">
        <pc:chgData name="Sophie Wannop" userId="189c5b27-3d68-45c0-ac57-44a94daef699" providerId="ADAL" clId="{AF714BB7-3DDA-4079-B18B-73D9DECB2F40}" dt="2021-03-03T15:50:45.814" v="318" actId="478"/>
        <pc:sldMkLst>
          <pc:docMk/>
          <pc:sldMk cId="363872881" sldId="2861"/>
        </pc:sldMkLst>
        <pc:spChg chg="add del mod">
          <ac:chgData name="Sophie Wannop" userId="189c5b27-3d68-45c0-ac57-44a94daef699" providerId="ADAL" clId="{AF714BB7-3DDA-4079-B18B-73D9DECB2F40}" dt="2021-03-03T15:50:45.814" v="318" actId="478"/>
          <ac:spMkLst>
            <pc:docMk/>
            <pc:sldMk cId="363872881" sldId="2861"/>
            <ac:spMk id="5" creationId="{92A1D340-B7B2-4F59-B417-3BC234445D3F}"/>
          </ac:spMkLst>
        </pc:spChg>
        <pc:spChg chg="add mod">
          <ac:chgData name="Sophie Wannop" userId="189c5b27-3d68-45c0-ac57-44a94daef699" providerId="ADAL" clId="{AF714BB7-3DDA-4079-B18B-73D9DECB2F40}" dt="2021-03-03T15:50:32.665" v="269" actId="1076"/>
          <ac:spMkLst>
            <pc:docMk/>
            <pc:sldMk cId="363872881" sldId="2861"/>
            <ac:spMk id="6" creationId="{3988FD0A-5736-4AC3-B609-B85B346614B0}"/>
          </ac:spMkLst>
        </pc:spChg>
        <pc:spChg chg="add mod">
          <ac:chgData name="Sophie Wannop" userId="189c5b27-3d68-45c0-ac57-44a94daef699" providerId="ADAL" clId="{AF714BB7-3DDA-4079-B18B-73D9DECB2F40}" dt="2021-03-03T15:50:44.141" v="317" actId="20577"/>
          <ac:spMkLst>
            <pc:docMk/>
            <pc:sldMk cId="363872881" sldId="2861"/>
            <ac:spMk id="7" creationId="{571F219B-6E05-4A02-A585-032220752D66}"/>
          </ac:spMkLst>
        </pc:spChg>
        <pc:picChg chg="add mod">
          <ac:chgData name="Sophie Wannop" userId="189c5b27-3d68-45c0-ac57-44a94daef699" providerId="ADAL" clId="{AF714BB7-3DDA-4079-B18B-73D9DECB2F40}" dt="2021-03-03T15:44:41.308" v="10"/>
          <ac:picMkLst>
            <pc:docMk/>
            <pc:sldMk cId="363872881" sldId="2861"/>
            <ac:picMk id="3" creationId="{E802785F-90BC-4DF6-ABFE-B1EE4B97DD3D}"/>
          </ac:picMkLst>
        </pc:picChg>
        <pc:picChg chg="del">
          <ac:chgData name="Sophie Wannop" userId="189c5b27-3d68-45c0-ac57-44a94daef699" providerId="ADAL" clId="{AF714BB7-3DDA-4079-B18B-73D9DECB2F40}" dt="2021-03-03T15:43:39.809" v="3" actId="478"/>
          <ac:picMkLst>
            <pc:docMk/>
            <pc:sldMk cId="363872881" sldId="2861"/>
            <ac:picMk id="4" creationId="{812C72CD-9EE1-4B71-8203-E7CDC95B5EF6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530" y="1"/>
            <a:ext cx="2946058" cy="4957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420D66-B6E6-45A5-B9B7-AB02254A7B48}" type="datetimeFigureOut">
              <a:rPr lang="en-GB" smtClean="0"/>
              <a:t>03/03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53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E866BD-B001-4D41-BA7F-66D0D072012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0492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941" y="1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r">
              <a:defRPr sz="1100"/>
            </a:lvl1pPr>
          </a:lstStyle>
          <a:p>
            <a:fld id="{667A17DA-1D83-2442-AC94-B79ADD33376A}" type="datetimeFigureOut">
              <a:rPr lang="en-US" smtClean="0"/>
              <a:t>3/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59" tIns="41880" rIns="83759" bIns="418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172" y="4689724"/>
            <a:ext cx="5437332" cy="4443113"/>
          </a:xfrm>
          <a:prstGeom prst="rect">
            <a:avLst/>
          </a:prstGeom>
        </p:spPr>
        <p:txBody>
          <a:bodyPr vert="horz" lIns="83759" tIns="41880" rIns="83759" bIns="4188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74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941" y="9377374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r">
              <a:defRPr sz="1100"/>
            </a:lvl1pPr>
          </a:lstStyle>
          <a:p>
            <a:fld id="{8D5C49B4-0496-1946-B93A-F1476E990D3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536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1343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4485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2004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6399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493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elcome global members on c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772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08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799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7E4F38-27EC-492B-952B-F20BAFE703EC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39638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77DDC-700A-D842-8B9C-CE61A3FF498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770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2494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8231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7E4F38-27EC-492B-952B-F20BAFE703EC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81921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image"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9CD2F-1BBD-B44F-8D01-4E8C584E8E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9A681C07-EA33-1D45-8CD2-39438A3726E3}"/>
              </a:ext>
            </a:extLst>
          </p:cNvPr>
          <p:cNvSpPr/>
          <p:nvPr userDrawn="1"/>
        </p:nvSpPr>
        <p:spPr>
          <a:xfrm>
            <a:off x="397670" y="371706"/>
            <a:ext cx="5060738" cy="4349584"/>
          </a:xfrm>
          <a:prstGeom prst="round1Rect">
            <a:avLst/>
          </a:prstGeom>
          <a:solidFill>
            <a:schemeClr val="accent1">
              <a:alpha val="5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 descr="A close up of a sign&#10;&#10;Description generated with high confidence">
            <a:extLst>
              <a:ext uri="{FF2B5EF4-FFF2-40B4-BE49-F238E27FC236}">
                <a16:creationId xmlns:a16="http://schemas.microsoft.com/office/drawing/2014/main" id="{5707B01B-0DC8-9A46-9A11-50CA50B29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669" y="371705"/>
            <a:ext cx="3290839" cy="120516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7D3B52-7295-1442-BDDE-486EE415A9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9257" y="1948577"/>
            <a:ext cx="4381384" cy="916543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Insert document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89CBC4-4156-944B-AD4B-7753CF942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9775" y="3035300"/>
            <a:ext cx="4381500" cy="15001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details</a:t>
            </a:r>
          </a:p>
          <a:p>
            <a:pPr lvl="0"/>
            <a:r>
              <a:rPr lang="en-US"/>
              <a:t>Dates</a:t>
            </a:r>
          </a:p>
          <a:p>
            <a:pPr lvl="0"/>
            <a:r>
              <a:rPr lang="en-US"/>
              <a:t>Location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line + squa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0BF611-62C1-3A4F-B3E6-D75D6C2B70B2}"/>
              </a:ext>
            </a:extLst>
          </p:cNvPr>
          <p:cNvSpPr/>
          <p:nvPr userDrawn="1"/>
        </p:nvSpPr>
        <p:spPr>
          <a:xfrm>
            <a:off x="0" y="1863759"/>
            <a:ext cx="13444538" cy="31495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6BDDDE-07CC-794B-A653-90DFD9FF7713}"/>
              </a:ext>
            </a:extLst>
          </p:cNvPr>
          <p:cNvGrpSpPr/>
          <p:nvPr userDrawn="1"/>
        </p:nvGrpSpPr>
        <p:grpSpPr>
          <a:xfrm>
            <a:off x="11592568" y="353628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D9A549E-8591-D64A-9314-34F31B30A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E043A3F5-4741-0149-B8A0-CAB40AA6C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7695F1-DE74-944D-88F9-3F2DE8C51FB6}"/>
              </a:ext>
            </a:extLst>
          </p:cNvPr>
          <p:cNvGrpSpPr/>
          <p:nvPr userDrawn="1"/>
        </p:nvGrpSpPr>
        <p:grpSpPr>
          <a:xfrm rot="10800000">
            <a:off x="4128423" y="210634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AED7517-3701-EA47-AC91-D4111C82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DCFDCB63-07C2-994D-807C-439CD5459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51B793-05F4-2844-9C09-B3F70AF442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2239320"/>
            <a:ext cx="8069340" cy="48912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D98AE58-32E7-3945-A617-CCED1CA107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2974525"/>
            <a:ext cx="8069340" cy="122141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0E5FABA-A590-154C-A8CE-5AB688D2CF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90" y="4364414"/>
            <a:ext cx="8069340" cy="335638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20795B-7DC5-D445-AC4D-6D46CF9525A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3125397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7386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05200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36711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76912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8BCBE9-A7EE-4DE9-82E4-6064C9BBA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8BCBE9-A7EE-4DE9-82E4-6064C9BBA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28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175435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950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30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005893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043955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6247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2082D2-B4F8-4458-90EC-758228494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2082D2-B4F8-4458-90EC-758228494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006851" y="1782672"/>
            <a:ext cx="3671140" cy="48438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928724" y="1782675"/>
            <a:ext cx="367114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928724" y="4004760"/>
            <a:ext cx="3671140" cy="26217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50596" y="1782674"/>
            <a:ext cx="3671140" cy="34531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3469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ADD0F0-9651-4E99-9CD6-51F5746BE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ADD0F0-9651-4E99-9CD6-51F5746BE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8946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898C3D-61CC-4BE9-BDCE-15D1B87D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898C3D-61CC-4BE9-BDCE-15D1B87D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7593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293C4-90D0-41EE-B84B-DE4AAFD34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293C4-90D0-41EE-B84B-DE4AAFD34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-1" y="0"/>
            <a:ext cx="13444539" cy="38024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-1" y="3802433"/>
            <a:ext cx="13444539" cy="3760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22118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7AA381-01D7-448D-A07B-051FF3CA4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7AA381-01D7-448D-A07B-051FF3CA4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4481512" y="0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963026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0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4481512" y="3781425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8963026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565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A4DCD26-4DA3-9F47-929D-7A156A289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9EA3B3-9BE9-2348-97E8-70A9E6BDD193}"/>
              </a:ext>
            </a:extLst>
          </p:cNvPr>
          <p:cNvSpPr/>
          <p:nvPr userDrawn="1"/>
        </p:nvSpPr>
        <p:spPr>
          <a:xfrm>
            <a:off x="0" y="4119338"/>
            <a:ext cx="13444538" cy="25902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2DDE9C-5CF5-6341-BDC9-87F23794A80D}"/>
              </a:ext>
            </a:extLst>
          </p:cNvPr>
          <p:cNvGrpSpPr/>
          <p:nvPr userDrawn="1"/>
        </p:nvGrpSpPr>
        <p:grpSpPr>
          <a:xfrm rot="10800000">
            <a:off x="499482" y="4486279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7DFC191-AF16-C34E-844A-2797208AA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 dirty="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6000AFFD-38C0-ED4D-B395-42C26E8D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9D7799-3366-2A43-9364-889A856FED6F}"/>
              </a:ext>
            </a:extLst>
          </p:cNvPr>
          <p:cNvGrpSpPr/>
          <p:nvPr userDrawn="1"/>
        </p:nvGrpSpPr>
        <p:grpSpPr>
          <a:xfrm>
            <a:off x="11829875" y="5631848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153E5A51-DDE4-5E41-9EE4-B06F99A74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 dirty="0"/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25412871-3EE8-B940-A1CF-3D4F3DC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 dirty="0"/>
            </a:p>
          </p:txBody>
        </p:sp>
      </p:grp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569496D-4436-F14C-9315-0A3891535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8986" y="4557548"/>
            <a:ext cx="9846566" cy="122141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41DBDC45-83ED-6E44-AEA5-A063E6D6B1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8986" y="5947437"/>
            <a:ext cx="9846566" cy="33563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CA2D9-337B-A546-A845-30E2B3FCF1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776579"/>
            <a:ext cx="9955482" cy="511175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2">
                    <a:lumMod val="10000"/>
                    <a:lumOff val="90000"/>
                  </a:schemeClr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Title line one</a:t>
            </a:r>
          </a:p>
        </p:txBody>
      </p:sp>
    </p:spTree>
    <p:extLst>
      <p:ext uri="{BB962C8B-B14F-4D97-AF65-F5344CB8AC3E}">
        <p14:creationId xmlns:p14="http://schemas.microsoft.com/office/powerpoint/2010/main" val="15373813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7361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5501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50764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75334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38665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938665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901996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901996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20834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003870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01936" y="0"/>
            <a:ext cx="4440671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01936" y="3846970"/>
            <a:ext cx="4440671" cy="37158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64462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98802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412316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0327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59DFF5-4277-4F8D-815B-CA4ACBB22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59DFF5-4277-4F8D-815B-CA4ACBB22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8717211" cy="7562850"/>
          </a:xfrm>
          <a:custGeom>
            <a:avLst/>
            <a:gdLst>
              <a:gd name="connsiteX0" fmla="*/ 0 w 15806056"/>
              <a:gd name="connsiteY0" fmla="*/ 0 h 13716000"/>
              <a:gd name="connsiteX1" fmla="*/ 9050443 w 15806056"/>
              <a:gd name="connsiteY1" fmla="*/ 0 h 13716000"/>
              <a:gd name="connsiteX2" fmla="*/ 15806056 w 15806056"/>
              <a:gd name="connsiteY2" fmla="*/ 13716000 h 13716000"/>
              <a:gd name="connsiteX3" fmla="*/ 0 w 1580605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06056" h="13716000">
                <a:moveTo>
                  <a:pt x="0" y="0"/>
                </a:moveTo>
                <a:lnTo>
                  <a:pt x="9050443" y="0"/>
                </a:lnTo>
                <a:lnTo>
                  <a:pt x="1580605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99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6647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18823" y="0"/>
            <a:ext cx="8725715" cy="756285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655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02554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65664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3817953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104266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289495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743144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1965664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34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3817953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253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EF24DA-71B3-0648-A902-86491C36F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853EF31-21BC-A041-A139-C1B4ECC7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9" y="831727"/>
            <a:ext cx="2724552" cy="997782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1FF34B6B-C022-5A44-A469-7F6E9C7C1E69}"/>
              </a:ext>
            </a:extLst>
          </p:cNvPr>
          <p:cNvSpPr txBox="1"/>
          <p:nvPr userDrawn="1"/>
        </p:nvSpPr>
        <p:spPr>
          <a:xfrm>
            <a:off x="4673133" y="6684263"/>
            <a:ext cx="4066463" cy="5577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43000"/>
              </a:lnSpc>
            </a:pPr>
            <a:r>
              <a:rPr lang="en-GB" sz="2800" spc="-5" dirty="0">
                <a:solidFill>
                  <a:schemeClr val="accent1"/>
                </a:solidFill>
                <a:latin typeface="Palatino Linotype" panose="02040502050505030304" pitchFamily="18" charset="0"/>
                <a:cs typeface="Trebuchet MS"/>
              </a:rPr>
              <a:t>everywoman everywhere</a:t>
            </a:r>
          </a:p>
        </p:txBody>
      </p:sp>
    </p:spTree>
    <p:extLst>
      <p:ext uri="{BB962C8B-B14F-4D97-AF65-F5344CB8AC3E}">
        <p14:creationId xmlns:p14="http://schemas.microsoft.com/office/powerpoint/2010/main" val="2548841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90086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975315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6977864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8830153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10678347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790086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975315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31372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8848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1657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32356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7661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3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41544" y="0"/>
            <a:ext cx="3193728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0864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02196" y="0"/>
            <a:ext cx="2913743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535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2E227F-CD0F-4246-91D0-0906123DC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2E227F-CD0F-4246-91D0-0906123DC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236146" y="0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468752" y="0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211998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2236146" y="3781425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468752" y="3781425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732743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1211998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732743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961872" y="0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8961872" y="3781425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55398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497155-4E0F-49DC-8084-C537BDB4D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51948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497155-4E0F-49DC-8084-C537BDB4D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722273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0517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85828" y="2244270"/>
            <a:ext cx="5766250" cy="264436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751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74C96B-EC00-5040-A4B0-6831C6257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812DA-F765-4142-A6A3-A8ED7235E082}" type="datetime1">
              <a:rPr lang="en-US" smtClean="0"/>
              <a:t>3/3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0D8F4E-62A6-C245-949F-468E4D8F7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78F024-F076-184D-A22D-938DAEAB6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01588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5809146"/>
            <a:ext cx="13444538" cy="17537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97694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3815" y="2290776"/>
            <a:ext cx="5820480" cy="52720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5740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43814" y="399153"/>
            <a:ext cx="8926087" cy="538102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02332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84555A-5BF0-46E9-920B-A032FF6AC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280431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84555A-5BF0-46E9-920B-A032FF6AC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0864" y="4109148"/>
            <a:ext cx="3648504" cy="345370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615117" y="0"/>
            <a:ext cx="6829422" cy="712168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2336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B2999-D757-440C-8E20-2BF957C51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998774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B2999-D757-440C-8E20-2BF957C51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722275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722275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59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8341" y="1237717"/>
            <a:ext cx="11427857" cy="2632992"/>
          </a:xfrm>
        </p:spPr>
        <p:txBody>
          <a:bodyPr anchor="b"/>
          <a:lstStyle>
            <a:lvl1pPr algn="ctr"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3/3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878085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3/3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802752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3"/>
            <a:ext cx="11595914" cy="3145935"/>
          </a:xfrm>
        </p:spPr>
        <p:txBody>
          <a:bodyPr anchor="b"/>
          <a:lstStyle>
            <a:lvl1pPr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9"/>
            <a:ext cx="11595914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24404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53730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4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5" y="1853949"/>
            <a:ext cx="5687669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5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8" y="1853949"/>
            <a:ext cx="5715680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8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1769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32512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lin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F476040-597A-AC4F-9489-BC03B665C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1938909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F2003F7-CA18-7D49-B884-523E76F2D70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98677" y="-27879"/>
            <a:ext cx="3673742" cy="7601563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77501" h="7618352">
                <a:moveTo>
                  <a:pt x="0" y="0"/>
                </a:moveTo>
                <a:cubicBezTo>
                  <a:pt x="5813" y="3954"/>
                  <a:pt x="3684087" y="17822"/>
                  <a:pt x="3677493" y="7409"/>
                </a:cubicBezTo>
                <a:cubicBezTo>
                  <a:pt x="3674677" y="11982"/>
                  <a:pt x="3657816" y="7620002"/>
                  <a:pt x="3668590" y="7615908"/>
                </a:cubicBezTo>
                <a:cubicBezTo>
                  <a:pt x="3658582" y="7621409"/>
                  <a:pt x="1624911" y="7615908"/>
                  <a:pt x="603071" y="7615908"/>
                </a:cubicBezTo>
                <a:cubicBezTo>
                  <a:pt x="270966" y="7615908"/>
                  <a:pt x="1742" y="7346684"/>
                  <a:pt x="1742" y="7014579"/>
                </a:cubicBezTo>
                <a:cubicBezTo>
                  <a:pt x="1742" y="4571354"/>
                  <a:pt x="5576" y="1108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C6E11B-8420-4C47-8D95-6B62E41E9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6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47602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8213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2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6"/>
            </a:lvl4pPr>
            <a:lvl5pPr>
              <a:defRPr sz="2206"/>
            </a:lvl5pPr>
            <a:lvl6pPr>
              <a:defRPr sz="2206"/>
            </a:lvl6pPr>
            <a:lvl7pPr>
              <a:defRPr sz="2206"/>
            </a:lvl7pPr>
            <a:lvl8pPr>
              <a:defRPr sz="2206"/>
            </a:lvl8pPr>
            <a:lvl9pPr>
              <a:defRPr sz="22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20037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2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200" indent="0">
              <a:buNone/>
              <a:defRPr sz="3088"/>
            </a:lvl2pPr>
            <a:lvl3pPr marL="1008400" indent="0">
              <a:buNone/>
              <a:defRPr sz="2647"/>
            </a:lvl3pPr>
            <a:lvl4pPr marL="1512600" indent="0">
              <a:buNone/>
              <a:defRPr sz="2206"/>
            </a:lvl4pPr>
            <a:lvl5pPr marL="2016801" indent="0">
              <a:buNone/>
              <a:defRPr sz="2206"/>
            </a:lvl5pPr>
            <a:lvl6pPr marL="2521001" indent="0">
              <a:buNone/>
              <a:defRPr sz="2206"/>
            </a:lvl6pPr>
            <a:lvl7pPr marL="3025201" indent="0">
              <a:buNone/>
              <a:defRPr sz="2206"/>
            </a:lvl7pPr>
            <a:lvl8pPr marL="3529401" indent="0">
              <a:buNone/>
              <a:defRPr sz="2206"/>
            </a:lvl8pPr>
            <a:lvl9pPr marL="4033601" indent="0">
              <a:buNone/>
              <a:defRPr sz="2206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66139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559783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8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3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79937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71556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3537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6795889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4475090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6795889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4475090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29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74741" y="2781914"/>
            <a:ext cx="5143875" cy="21688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853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96185" y="2794745"/>
            <a:ext cx="5143875" cy="21559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3282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631097" y="3175680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4620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20966D-FC42-8C4E-B321-6C51B7519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06CF67-64C5-F844-BC9C-CDD4FD02B0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1948661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1687EF5-3057-A24E-99D1-E0749A2F79A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889583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160301" y="3175681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7653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6754" y="2234343"/>
            <a:ext cx="2455011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703333" y="2234343"/>
            <a:ext cx="2455012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84975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890467" y="2234343"/>
            <a:ext cx="2461067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881883" y="2234343"/>
            <a:ext cx="2455011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0851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050696" y="2114288"/>
            <a:ext cx="3429250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6551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481530" y="2114288"/>
            <a:ext cx="3373604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8788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729618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58509" y="3278563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766872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4393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601162" y="3461386"/>
            <a:ext cx="2213334" cy="215283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7922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38665" y="1885233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85218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619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91489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28158" y="1885232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28159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7525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163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092C2CD-8D6B-0D4E-AF4C-BB4EE2287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46D57C6-A437-1741-8E39-E45C3EEBB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670" y="1926717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2D6E63-593B-204A-BC72-3351C6ED13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12950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19272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8897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2020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96727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854055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6727" y="4638220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54055" y="463821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9442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920312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576954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712615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641531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3849228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6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76954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641531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1561843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4007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" y="1644646"/>
            <a:ext cx="10376973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376975" y="0"/>
            <a:ext cx="3067565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376973" y="3645684"/>
            <a:ext cx="3067565" cy="391716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9958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0409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6839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3512879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512880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6647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572270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5147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572270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085148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3136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103087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7209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405669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495928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495928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090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DB74B5-1A8E-8D47-ADCE-A51C4AE212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4262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5392025-149B-024E-B967-86B4833C8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4262" y="1914525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B51436A8-D0B2-4440-B204-66C6EE338A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22528" y="-17629"/>
            <a:ext cx="5253841" cy="759642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  <a:gd name="connsiteX0" fmla="*/ 1554089 w 5638947"/>
              <a:gd name="connsiteY0" fmla="*/ 8107669 h 8107673"/>
              <a:gd name="connsiteX1" fmla="*/ 4 w 5638947"/>
              <a:gd name="connsiteY1" fmla="*/ 517891 h 8107673"/>
              <a:gd name="connsiteX2" fmla="*/ 5251039 w 5638947"/>
              <a:gd name="connsiteY2" fmla="*/ 517033 h 8107673"/>
              <a:gd name="connsiteX3" fmla="*/ 5247864 w 5638947"/>
              <a:gd name="connsiteY3" fmla="*/ 7499990 h 8107673"/>
              <a:gd name="connsiteX4" fmla="*/ 4646535 w 5638947"/>
              <a:gd name="connsiteY4" fmla="*/ 8101319 h 8107673"/>
              <a:gd name="connsiteX5" fmla="*/ 1554089 w 5638947"/>
              <a:gd name="connsiteY5" fmla="*/ 8107669 h 8107673"/>
              <a:gd name="connsiteX0" fmla="*/ 0 w 5641653"/>
              <a:gd name="connsiteY0" fmla="*/ 8119244 h 8119248"/>
              <a:gd name="connsiteX1" fmla="*/ 2710 w 5641653"/>
              <a:gd name="connsiteY1" fmla="*/ 517891 h 8119248"/>
              <a:gd name="connsiteX2" fmla="*/ 5253745 w 5641653"/>
              <a:gd name="connsiteY2" fmla="*/ 517033 h 8119248"/>
              <a:gd name="connsiteX3" fmla="*/ 5250570 w 5641653"/>
              <a:gd name="connsiteY3" fmla="*/ 7499990 h 8119248"/>
              <a:gd name="connsiteX4" fmla="*/ 4649241 w 5641653"/>
              <a:gd name="connsiteY4" fmla="*/ 8101319 h 8119248"/>
              <a:gd name="connsiteX5" fmla="*/ 0 w 5641653"/>
              <a:gd name="connsiteY5" fmla="*/ 8119244 h 8119248"/>
              <a:gd name="connsiteX0" fmla="*/ 0 w 5641653"/>
              <a:gd name="connsiteY0" fmla="*/ 8113457 h 8113461"/>
              <a:gd name="connsiteX1" fmla="*/ 2710 w 5641653"/>
              <a:gd name="connsiteY1" fmla="*/ 517891 h 8113461"/>
              <a:gd name="connsiteX2" fmla="*/ 5253745 w 5641653"/>
              <a:gd name="connsiteY2" fmla="*/ 517033 h 8113461"/>
              <a:gd name="connsiteX3" fmla="*/ 5250570 w 5641653"/>
              <a:gd name="connsiteY3" fmla="*/ 7499990 h 8113461"/>
              <a:gd name="connsiteX4" fmla="*/ 4649241 w 5641653"/>
              <a:gd name="connsiteY4" fmla="*/ 8101319 h 8113461"/>
              <a:gd name="connsiteX5" fmla="*/ 0 w 5641653"/>
              <a:gd name="connsiteY5" fmla="*/ 8113457 h 8113461"/>
              <a:gd name="connsiteX0" fmla="*/ 0 w 5253841"/>
              <a:gd name="connsiteY0" fmla="*/ 7596424 h 7596428"/>
              <a:gd name="connsiteX1" fmla="*/ 2710 w 5253841"/>
              <a:gd name="connsiteY1" fmla="*/ 858 h 7596428"/>
              <a:gd name="connsiteX2" fmla="*/ 5253745 w 5253841"/>
              <a:gd name="connsiteY2" fmla="*/ 0 h 7596428"/>
              <a:gd name="connsiteX3" fmla="*/ 5250570 w 5253841"/>
              <a:gd name="connsiteY3" fmla="*/ 6982957 h 7596428"/>
              <a:gd name="connsiteX4" fmla="*/ 4649241 w 5253841"/>
              <a:gd name="connsiteY4" fmla="*/ 7584286 h 7596428"/>
              <a:gd name="connsiteX5" fmla="*/ 0 w 5253841"/>
              <a:gd name="connsiteY5" fmla="*/ 7596424 h 759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841" h="7596428">
                <a:moveTo>
                  <a:pt x="0" y="7596424"/>
                </a:moveTo>
                <a:cubicBezTo>
                  <a:pt x="14131" y="7603232"/>
                  <a:pt x="-312" y="376121"/>
                  <a:pt x="2710" y="858"/>
                </a:cubicBezTo>
                <a:lnTo>
                  <a:pt x="5253745" y="0"/>
                </a:lnTo>
                <a:cubicBezTo>
                  <a:pt x="5254499" y="427"/>
                  <a:pt x="5250570" y="4655479"/>
                  <a:pt x="5250570" y="6982957"/>
                </a:cubicBezTo>
                <a:cubicBezTo>
                  <a:pt x="5250570" y="7315062"/>
                  <a:pt x="4981346" y="7584286"/>
                  <a:pt x="4649241" y="7584286"/>
                </a:cubicBezTo>
                <a:lnTo>
                  <a:pt x="0" y="759642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6707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76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834700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2834700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5634651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23694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7006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130719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130995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965418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7965418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765370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754413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530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01257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9619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7184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5894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76096" y="2315568"/>
            <a:ext cx="4060710" cy="304565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6057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4145562"/>
            <a:ext cx="4355331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542435" y="4145562"/>
            <a:ext cx="4355399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9084937" y="4145562"/>
            <a:ext cx="4359602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6424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26229" y="909737"/>
            <a:ext cx="4336212" cy="574338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5177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023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376073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5044266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8712458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76073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044266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712458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9181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3" name="Round Single Corner Rectangle 12">
            <a:extLst>
              <a:ext uri="{FF2B5EF4-FFF2-40B4-BE49-F238E27FC236}">
                <a16:creationId xmlns:a16="http://schemas.microsoft.com/office/drawing/2014/main" id="{24A3CC29-68E2-7B43-AA24-1AD427C5E3CB}"/>
              </a:ext>
            </a:extLst>
          </p:cNvPr>
          <p:cNvSpPr/>
          <p:nvPr userDrawn="1"/>
        </p:nvSpPr>
        <p:spPr>
          <a:xfrm>
            <a:off x="598881" y="2209077"/>
            <a:ext cx="12240000" cy="4769165"/>
          </a:xfrm>
          <a:prstGeom prst="round1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5123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2F8DF6-8A42-4F93-BB78-6B420EF74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2F8DF6-8A42-4F93-BB78-6B420EF74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10976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593013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275051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7240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234166" y="3028270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5880185" y="3026109"/>
            <a:ext cx="1661472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9512329" y="3026109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0269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7254CC-F893-43D0-A2C7-20FC4F4B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7254CC-F893-43D0-A2C7-20FC4F4B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706336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 dirty="0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78885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3787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61238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247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490748-3DAF-4045-9C43-536332417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490748-3DAF-4045-9C43-536332417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50135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16027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784570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0462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8291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4D35D0-5BF3-4BED-BD79-D3019866B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0216" y="0"/>
            <a:ext cx="448825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88253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976504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8128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366174" y="2976678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5236624" y="2976681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366174" y="4823105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5236624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9080219" y="2976680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080219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6663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10278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02084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4938909" y="1743540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10092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301898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4937042" y="3151992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10092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301898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4937042" y="4561694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195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4621742"/>
            <a:ext cx="13444538" cy="24579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1836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386439"/>
            <a:ext cx="13444537" cy="245789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6765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0082927" y="2115946"/>
            <a:ext cx="134445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816764" y="2115946"/>
            <a:ext cx="1344455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018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50603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CAA65E3C-0D40-1145-830F-CF69E766555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98881" y="1549146"/>
            <a:ext cx="11882437" cy="4913313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2609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9783805" y="3664696"/>
            <a:ext cx="1326244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6392520" y="3664696"/>
            <a:ext cx="1316152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783805" y="1283797"/>
            <a:ext cx="132624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392519" y="1283797"/>
            <a:ext cx="1362663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9809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152525" y="2949512"/>
            <a:ext cx="2215324" cy="166382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578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376072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44266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8712458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76962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2960780"/>
            <a:ext cx="13444538" cy="4579063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8986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076375" y="1"/>
            <a:ext cx="2728242" cy="756285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1160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327628" y="-360076"/>
            <a:ext cx="13993629" cy="5735491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09784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5646598" y="2744323"/>
            <a:ext cx="2124874" cy="287388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2304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614637" y="2026833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7373661" y="2023308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09109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3A2254-032B-45AB-B393-1883E6B44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3A2254-032B-45AB-B393-1883E6B44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543970" y="2030357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302994" y="2026832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4426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066863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69968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474317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250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328486-014B-AF42-BCF6-C90E599630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488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0447282-D7AE-E243-9237-B548EE0D33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0664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F97880-8FDE-C24B-A061-DC5EC07C9A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02652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2301C60-2709-F04A-A9B3-A31C3AC06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285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F30E22FA-D435-ED46-A79A-4E4CB76834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0461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5164005C-D1C7-1244-AB04-588168A53E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2449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88E290D-44E1-1A4A-BF51-C85F24ECA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8285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1EDC695-027A-E448-B48A-5F71145964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0461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B3A6708A-A895-B14D-8776-2DFC58326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2449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E9032EA-0E73-5947-AA72-C407B55455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8285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B2DD048A-2C0C-C442-8692-643C9F3BC8C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50461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B592F973-9EFE-C543-A1FE-8CD2342F13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02449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6B5069F5-D1DD-E14F-8D9E-2BEE7E736B3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285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BC78C847-B777-9440-844F-89816896D8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50367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9AFB8256-8920-C244-9AC9-B5A66F4457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02449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1B17FAFC-AD51-CC4C-B314-81A11E74F1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8285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3" name="Text Placeholder 34">
            <a:extLst>
              <a:ext uri="{FF2B5EF4-FFF2-40B4-BE49-F238E27FC236}">
                <a16:creationId xmlns:a16="http://schemas.microsoft.com/office/drawing/2014/main" id="{FC5DC37F-DF25-C646-9C7D-D0455901A0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50367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4" name="Text Placeholder 34">
            <a:extLst>
              <a:ext uri="{FF2B5EF4-FFF2-40B4-BE49-F238E27FC236}">
                <a16:creationId xmlns:a16="http://schemas.microsoft.com/office/drawing/2014/main" id="{EED8F8C7-57FC-CF4B-A7E6-565078D9743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02449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657766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369753" y="3412979"/>
            <a:ext cx="4690004" cy="4128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2383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634264" y="2757725"/>
            <a:ext cx="2130396" cy="2836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47995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931002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1039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71290" y="1789673"/>
            <a:ext cx="3896861" cy="38784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4410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C04B20-1119-4D5E-B35A-62F9B8DC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C04B20-1119-4D5E-B35A-62F9B8DC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764242" y="1781991"/>
            <a:ext cx="3917706" cy="39469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5636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2474609" y="4613712"/>
            <a:ext cx="243597" cy="228982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4651538" y="2649396"/>
            <a:ext cx="3683798" cy="1547053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91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922992" y="4130356"/>
            <a:ext cx="559030" cy="751297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l">
              <a:lnSpc>
                <a:spcPct val="50000"/>
              </a:lnSpc>
              <a:buNone/>
              <a:defRPr sz="289">
                <a:latin typeface="Calibri Light"/>
                <a:cs typeface="Calibri Light"/>
              </a:defRPr>
            </a:lvl1pPr>
          </a:lstStyle>
          <a:p>
            <a:r>
              <a:rPr lang="id-ID"/>
              <a:t>Picture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7819991" y="3735765"/>
            <a:ext cx="2324039" cy="1106929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3663191" y="3641730"/>
            <a:ext cx="1243140" cy="1225884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773865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515704" y="3121825"/>
            <a:ext cx="4429131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7422899" y="3121825"/>
            <a:ext cx="4446202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15607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382283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596162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643833" y="3356433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598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25279" y="3006732"/>
            <a:ext cx="4787886" cy="2222439"/>
          </a:xfr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2222755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036825" y="3282599"/>
            <a:ext cx="5138731" cy="240652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9632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hind the Sc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111509" y="3268839"/>
            <a:ext cx="5152619" cy="241117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040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212749-C25E-5240-B79A-9B8BD5915B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2269" y="613425"/>
            <a:ext cx="11880000" cy="2160587"/>
          </a:xfrm>
          <a:prstGeom prst="round1Rect">
            <a:avLst/>
          </a:prstGeom>
        </p:spPr>
        <p:txBody>
          <a:bodyPr anchor="t" anchorCtr="1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9C0793-6B54-FE46-BB88-EF527E09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269" y="3212528"/>
            <a:ext cx="11881818" cy="923330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5D110D0-74F1-294D-8F96-392EEE18D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69" y="4340733"/>
            <a:ext cx="11880000" cy="210883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43282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7141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7278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111916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4863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6BA4CB-0B9C-4370-B9FF-D1EA9433FC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96753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6BA4CB-0B9C-4370-B9FF-D1EA9433F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858329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9622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C6408C-AB03-4949-8721-E6955BD1E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536035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C6408C-AB03-4949-8721-E6955BD1E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445962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4717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2762087"/>
            <a:ext cx="13444539" cy="40754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8914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1145052"/>
            <a:ext cx="13444539" cy="323407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4157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214708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357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612562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4376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586453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94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9.xml"/><Relationship Id="rId117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63" Type="http://schemas.openxmlformats.org/officeDocument/2006/relationships/slideLayout" Target="../slideLayouts/slideLayout76.xml"/><Relationship Id="rId68" Type="http://schemas.openxmlformats.org/officeDocument/2006/relationships/slideLayout" Target="../slideLayouts/slideLayout81.xml"/><Relationship Id="rId84" Type="http://schemas.openxmlformats.org/officeDocument/2006/relationships/slideLayout" Target="../slideLayouts/slideLayout97.xml"/><Relationship Id="rId89" Type="http://schemas.openxmlformats.org/officeDocument/2006/relationships/slideLayout" Target="../slideLayouts/slideLayout102.xml"/><Relationship Id="rId11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29.xml"/><Relationship Id="rId107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66.xml"/><Relationship Id="rId58" Type="http://schemas.openxmlformats.org/officeDocument/2006/relationships/slideLayout" Target="../slideLayouts/slideLayout71.xml"/><Relationship Id="rId74" Type="http://schemas.openxmlformats.org/officeDocument/2006/relationships/slideLayout" Target="../slideLayouts/slideLayout87.xml"/><Relationship Id="rId79" Type="http://schemas.openxmlformats.org/officeDocument/2006/relationships/slideLayout" Target="../slideLayouts/slideLayout92.xml"/><Relationship Id="rId102" Type="http://schemas.openxmlformats.org/officeDocument/2006/relationships/slideLayout" Target="../slideLayouts/slideLayout115.xml"/><Relationship Id="rId123" Type="http://schemas.openxmlformats.org/officeDocument/2006/relationships/tags" Target="../tags/tag1.xml"/><Relationship Id="rId5" Type="http://schemas.openxmlformats.org/officeDocument/2006/relationships/slideLayout" Target="../slideLayouts/slideLayout18.xml"/><Relationship Id="rId90" Type="http://schemas.openxmlformats.org/officeDocument/2006/relationships/slideLayout" Target="../slideLayouts/slideLayout103.xml"/><Relationship Id="rId95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64" Type="http://schemas.openxmlformats.org/officeDocument/2006/relationships/slideLayout" Target="../slideLayouts/slideLayout77.xml"/><Relationship Id="rId69" Type="http://schemas.openxmlformats.org/officeDocument/2006/relationships/slideLayout" Target="../slideLayouts/slideLayout82.xml"/><Relationship Id="rId113" Type="http://schemas.openxmlformats.org/officeDocument/2006/relationships/slideLayout" Target="../slideLayouts/slideLayout126.xml"/><Relationship Id="rId118" Type="http://schemas.openxmlformats.org/officeDocument/2006/relationships/slideLayout" Target="../slideLayouts/slideLayout131.xml"/><Relationship Id="rId80" Type="http://schemas.openxmlformats.org/officeDocument/2006/relationships/slideLayout" Target="../slideLayouts/slideLayout93.xml"/><Relationship Id="rId85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72.xml"/><Relationship Id="rId103" Type="http://schemas.openxmlformats.org/officeDocument/2006/relationships/slideLayout" Target="../slideLayouts/slideLayout116.xml"/><Relationship Id="rId108" Type="http://schemas.openxmlformats.org/officeDocument/2006/relationships/slideLayout" Target="../slideLayouts/slideLayout121.xml"/><Relationship Id="rId124" Type="http://schemas.openxmlformats.org/officeDocument/2006/relationships/oleObject" Target="../embeddings/oleObject1.bin"/><Relationship Id="rId54" Type="http://schemas.openxmlformats.org/officeDocument/2006/relationships/slideLayout" Target="../slideLayouts/slideLayout67.xml"/><Relationship Id="rId70" Type="http://schemas.openxmlformats.org/officeDocument/2006/relationships/slideLayout" Target="../slideLayouts/slideLayout83.xml"/><Relationship Id="rId75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104.xml"/><Relationship Id="rId96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62.xml"/><Relationship Id="rId114" Type="http://schemas.openxmlformats.org/officeDocument/2006/relationships/slideLayout" Target="../slideLayouts/slideLayout127.xml"/><Relationship Id="rId119" Type="http://schemas.openxmlformats.org/officeDocument/2006/relationships/slideLayout" Target="../slideLayouts/slideLayout132.xml"/><Relationship Id="rId44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73.xml"/><Relationship Id="rId65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94.xml"/><Relationship Id="rId86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52.xml"/><Relationship Id="rId109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89.xml"/><Relationship Id="rId97" Type="http://schemas.openxmlformats.org/officeDocument/2006/relationships/slideLayout" Target="../slideLayouts/slideLayout110.xml"/><Relationship Id="rId104" Type="http://schemas.openxmlformats.org/officeDocument/2006/relationships/slideLayout" Target="../slideLayouts/slideLayout117.xml"/><Relationship Id="rId120" Type="http://schemas.openxmlformats.org/officeDocument/2006/relationships/slideLayout" Target="../slideLayouts/slideLayout133.xml"/><Relationship Id="rId125" Type="http://schemas.openxmlformats.org/officeDocument/2006/relationships/image" Target="../media/image3.emf"/><Relationship Id="rId7" Type="http://schemas.openxmlformats.org/officeDocument/2006/relationships/slideLayout" Target="../slideLayouts/slideLayout20.xml"/><Relationship Id="rId71" Type="http://schemas.openxmlformats.org/officeDocument/2006/relationships/slideLayout" Target="../slideLayouts/slideLayout84.xml"/><Relationship Id="rId9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5.xml"/><Relationship Id="rId29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100.xml"/><Relationship Id="rId110" Type="http://schemas.openxmlformats.org/officeDocument/2006/relationships/slideLayout" Target="../slideLayouts/slideLayout123.xml"/><Relationship Id="rId115" Type="http://schemas.openxmlformats.org/officeDocument/2006/relationships/slideLayout" Target="../slideLayouts/slideLayout128.xml"/><Relationship Id="rId61" Type="http://schemas.openxmlformats.org/officeDocument/2006/relationships/slideLayout" Target="../slideLayouts/slideLayout74.xml"/><Relationship Id="rId82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90.xml"/><Relationship Id="rId100" Type="http://schemas.openxmlformats.org/officeDocument/2006/relationships/slideLayout" Target="../slideLayouts/slideLayout113.xml"/><Relationship Id="rId105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72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106.xml"/><Relationship Id="rId98" Type="http://schemas.openxmlformats.org/officeDocument/2006/relationships/slideLayout" Target="../slideLayouts/slideLayout111.xml"/><Relationship Id="rId121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6.xml"/><Relationship Id="rId25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80.xml"/><Relationship Id="rId1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96.xml"/><Relationship Id="rId88" Type="http://schemas.openxmlformats.org/officeDocument/2006/relationships/slideLayout" Target="../slideLayouts/slideLayout101.xml"/><Relationship Id="rId111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70.xml"/><Relationship Id="rId106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86.xml"/><Relationship Id="rId78" Type="http://schemas.openxmlformats.org/officeDocument/2006/relationships/slideLayout" Target="../slideLayouts/slideLayout91.xml"/><Relationship Id="rId94" Type="http://schemas.openxmlformats.org/officeDocument/2006/relationships/slideLayout" Target="../slideLayouts/slideLayout107.xml"/><Relationship Id="rId99" Type="http://schemas.openxmlformats.org/officeDocument/2006/relationships/slideLayout" Target="../slideLayouts/slideLayout112.xml"/><Relationship Id="rId101" Type="http://schemas.openxmlformats.org/officeDocument/2006/relationships/slideLayout" Target="../slideLayouts/slideLayout114.xml"/><Relationship Id="rId122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0" r:id="rId2"/>
    <p:sldLayoutId id="2147483682" r:id="rId3"/>
    <p:sldLayoutId id="2147483693" r:id="rId4"/>
    <p:sldLayoutId id="2147483692" r:id="rId5"/>
    <p:sldLayoutId id="2147483690" r:id="rId6"/>
    <p:sldLayoutId id="2147483696" r:id="rId7"/>
    <p:sldLayoutId id="2147483694" r:id="rId8"/>
    <p:sldLayoutId id="2147483665" r:id="rId9"/>
    <p:sldLayoutId id="2147483685" r:id="rId10"/>
    <p:sldLayoutId id="2147483687" r:id="rId11"/>
    <p:sldLayoutId id="2147483697" r:id="rId12"/>
    <p:sldLayoutId id="2147483825" r:id="rId13"/>
  </p:sldLayoutIdLst>
  <p:txStyles>
    <p:titleStyle>
      <a:lvl1pPr>
        <a:defRPr>
          <a:latin typeface="Palatino Linotype"/>
          <a:ea typeface="+mj-ea"/>
          <a:cs typeface="Palatino Linotype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2997156449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4" imgW="347" imgH="348" progId="TCLayout.ActiveDocument.1">
                  <p:embed/>
                </p:oleObj>
              </mc:Choice>
              <mc:Fallback>
                <p:oleObj name="think-cell Slide" r:id="rId12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CFEF15-9166-45C8-AD89-9A1892A1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4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3/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3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2268009" y="347420"/>
            <a:ext cx="238482" cy="289058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824" tIns="18912" rIns="37824" bIns="189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89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2331144" y="434674"/>
            <a:ext cx="112211" cy="1145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744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744" b="0" i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613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  <p:sldLayoutId id="2147483744" r:id="rId42"/>
    <p:sldLayoutId id="2147483745" r:id="rId43"/>
    <p:sldLayoutId id="2147483746" r:id="rId44"/>
    <p:sldLayoutId id="2147483747" r:id="rId45"/>
    <p:sldLayoutId id="2147483748" r:id="rId46"/>
    <p:sldLayoutId id="2147483749" r:id="rId47"/>
    <p:sldLayoutId id="2147483750" r:id="rId48"/>
    <p:sldLayoutId id="2147483751" r:id="rId49"/>
    <p:sldLayoutId id="2147483752" r:id="rId50"/>
    <p:sldLayoutId id="2147483753" r:id="rId51"/>
    <p:sldLayoutId id="2147483754" r:id="rId52"/>
    <p:sldLayoutId id="2147483755" r:id="rId53"/>
    <p:sldLayoutId id="2147483756" r:id="rId54"/>
    <p:sldLayoutId id="2147483757" r:id="rId55"/>
    <p:sldLayoutId id="2147483758" r:id="rId56"/>
    <p:sldLayoutId id="2147483759" r:id="rId57"/>
    <p:sldLayoutId id="2147483760" r:id="rId58"/>
    <p:sldLayoutId id="2147483761" r:id="rId59"/>
    <p:sldLayoutId id="2147483762" r:id="rId60"/>
    <p:sldLayoutId id="2147483763" r:id="rId61"/>
    <p:sldLayoutId id="2147483764" r:id="rId62"/>
    <p:sldLayoutId id="2147483765" r:id="rId63"/>
    <p:sldLayoutId id="2147483766" r:id="rId64"/>
    <p:sldLayoutId id="2147483767" r:id="rId65"/>
    <p:sldLayoutId id="2147483768" r:id="rId66"/>
    <p:sldLayoutId id="2147483769" r:id="rId67"/>
    <p:sldLayoutId id="2147483770" r:id="rId68"/>
    <p:sldLayoutId id="2147483771" r:id="rId69"/>
    <p:sldLayoutId id="2147483772" r:id="rId70"/>
    <p:sldLayoutId id="2147483773" r:id="rId71"/>
    <p:sldLayoutId id="2147483774" r:id="rId72"/>
    <p:sldLayoutId id="2147483775" r:id="rId73"/>
    <p:sldLayoutId id="2147483776" r:id="rId74"/>
    <p:sldLayoutId id="2147483777" r:id="rId75"/>
    <p:sldLayoutId id="2147483778" r:id="rId76"/>
    <p:sldLayoutId id="2147483779" r:id="rId77"/>
    <p:sldLayoutId id="2147483780" r:id="rId78"/>
    <p:sldLayoutId id="2147483781" r:id="rId79"/>
    <p:sldLayoutId id="2147483782" r:id="rId80"/>
    <p:sldLayoutId id="2147483783" r:id="rId81"/>
    <p:sldLayoutId id="2147483784" r:id="rId82"/>
    <p:sldLayoutId id="2147483785" r:id="rId83"/>
    <p:sldLayoutId id="2147483786" r:id="rId84"/>
    <p:sldLayoutId id="2147483787" r:id="rId85"/>
    <p:sldLayoutId id="2147483788" r:id="rId86"/>
    <p:sldLayoutId id="2147483789" r:id="rId87"/>
    <p:sldLayoutId id="2147483790" r:id="rId88"/>
    <p:sldLayoutId id="2147483791" r:id="rId89"/>
    <p:sldLayoutId id="2147483792" r:id="rId90"/>
    <p:sldLayoutId id="2147483793" r:id="rId91"/>
    <p:sldLayoutId id="2147483794" r:id="rId92"/>
    <p:sldLayoutId id="2147483795" r:id="rId93"/>
    <p:sldLayoutId id="2147483796" r:id="rId94"/>
    <p:sldLayoutId id="2147483797" r:id="rId95"/>
    <p:sldLayoutId id="2147483798" r:id="rId96"/>
    <p:sldLayoutId id="2147483799" r:id="rId97"/>
    <p:sldLayoutId id="2147483800" r:id="rId98"/>
    <p:sldLayoutId id="2147483801" r:id="rId99"/>
    <p:sldLayoutId id="2147483802" r:id="rId100"/>
    <p:sldLayoutId id="2147483803" r:id="rId101"/>
    <p:sldLayoutId id="2147483804" r:id="rId102"/>
    <p:sldLayoutId id="2147483805" r:id="rId103"/>
    <p:sldLayoutId id="2147483806" r:id="rId104"/>
    <p:sldLayoutId id="2147483807" r:id="rId105"/>
    <p:sldLayoutId id="2147483808" r:id="rId106"/>
    <p:sldLayoutId id="2147483809" r:id="rId107"/>
    <p:sldLayoutId id="2147483810" r:id="rId108"/>
    <p:sldLayoutId id="2147483811" r:id="rId109"/>
    <p:sldLayoutId id="2147483812" r:id="rId110"/>
    <p:sldLayoutId id="2147483813" r:id="rId111"/>
    <p:sldLayoutId id="2147483814" r:id="rId112"/>
    <p:sldLayoutId id="2147483815" r:id="rId113"/>
    <p:sldLayoutId id="2147483816" r:id="rId114"/>
    <p:sldLayoutId id="2147483817" r:id="rId115"/>
    <p:sldLayoutId id="2147483818" r:id="rId116"/>
    <p:sldLayoutId id="2147483819" r:id="rId117"/>
    <p:sldLayoutId id="2147483820" r:id="rId118"/>
    <p:sldLayoutId id="2147483821" r:id="rId119"/>
    <p:sldLayoutId id="2147483822" r:id="rId120"/>
    <p:sldLayoutId id="2147483823" r:id="rId121"/>
  </p:sldLayoutIdLst>
  <p:hf hdr="0" ftr="0" dt="0"/>
  <p:txStyles>
    <p:titleStyle>
      <a:lvl1pPr algn="l" defTabSz="1008400" rtl="0" eaLnBrk="1" latinLnBrk="0" hangingPunct="1">
        <a:lnSpc>
          <a:spcPct val="90000"/>
        </a:lnSpc>
        <a:spcBef>
          <a:spcPct val="0"/>
        </a:spcBef>
        <a:buNone/>
        <a:defRPr sz="3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None/>
        <a:defRPr sz="2426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27731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3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5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picture containing text, vector graphics, toy, doll&#10;&#10;Description automatically generated">
            <a:extLst>
              <a:ext uri="{FF2B5EF4-FFF2-40B4-BE49-F238E27FC236}">
                <a16:creationId xmlns:a16="http://schemas.microsoft.com/office/drawing/2014/main" id="{F129840B-312F-4E38-A069-BB982B80D77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rgbClr val="C5AAC7">
                <a:tint val="45000"/>
                <a:satMod val="400000"/>
              </a:srgbClr>
            </a:duotone>
          </a:blip>
          <a:srcRect t="21874" b="21874"/>
          <a:stretch>
            <a:fillRect/>
          </a:stretch>
        </p:blipFill>
        <p:spPr/>
      </p:pic>
      <p:sp>
        <p:nvSpPr>
          <p:cNvPr id="4" name="Round Single Corner Rectangle 4">
            <a:extLst>
              <a:ext uri="{FF2B5EF4-FFF2-40B4-BE49-F238E27FC236}">
                <a16:creationId xmlns:a16="http://schemas.microsoft.com/office/drawing/2014/main" id="{F572D5CC-A2DF-4D33-8B9A-1DB9A4936878}"/>
              </a:ext>
            </a:extLst>
          </p:cNvPr>
          <p:cNvSpPr/>
          <p:nvPr/>
        </p:nvSpPr>
        <p:spPr>
          <a:xfrm>
            <a:off x="0" y="409904"/>
            <a:ext cx="5334915" cy="4294079"/>
          </a:xfrm>
          <a:prstGeom prst="round1Rect">
            <a:avLst/>
          </a:prstGeom>
          <a:solidFill>
            <a:srgbClr val="7A3E7F">
              <a:alpha val="5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4" descr="A close up of a sign&#10;&#10;Description generated with high confidence">
            <a:extLst>
              <a:ext uri="{FF2B5EF4-FFF2-40B4-BE49-F238E27FC236}">
                <a16:creationId xmlns:a16="http://schemas.microsoft.com/office/drawing/2014/main" id="{54C30292-1ABB-4DE4-BDA5-775C7F13E73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290839" cy="1205167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886E60C-D6B6-476F-8669-CE4A7CE5C1B9}"/>
              </a:ext>
            </a:extLst>
          </p:cNvPr>
          <p:cNvSpPr txBox="1">
            <a:spLocks/>
          </p:cNvSpPr>
          <p:nvPr/>
        </p:nvSpPr>
        <p:spPr>
          <a:xfrm>
            <a:off x="245912" y="1376253"/>
            <a:ext cx="5925116" cy="2509682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Challenge Yourself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</a:b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83048-6B95-4EEF-8085-6155ADA9459F}"/>
              </a:ext>
            </a:extLst>
          </p:cNvPr>
          <p:cNvSpPr txBox="1">
            <a:spLocks/>
          </p:cNvSpPr>
          <p:nvPr/>
        </p:nvSpPr>
        <p:spPr>
          <a:xfrm>
            <a:off x="245912" y="2885090"/>
            <a:ext cx="5118731" cy="136068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International Women’s Day</a:t>
            </a:r>
            <a:endParaRPr lang="en-US" kern="0" dirty="0">
              <a:solidFill>
                <a:sysClr val="window" lastClr="FFFF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8 March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kern="0" dirty="0">
              <a:solidFill>
                <a:sysClr val="window" lastClr="FFFF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68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One: Tell us about you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3838088"/>
            <a:ext cx="11938369" cy="31705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2000" dirty="0">
                <a:solidFill>
                  <a:schemeClr val="accent1"/>
                </a:solidFill>
                <a:latin typeface="Trebuchet MS" panose="020B0603020202020204" pitchFamily="34" charset="0"/>
              </a:rPr>
              <a:t>Where do you stand on promoting gender equality?</a:t>
            </a: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2400" b="1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This is a topic that matters to me but I’m not sure my company gets it</a:t>
            </a: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I’d like to do something but I’m not sure how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I feel awkward as a woman about highlighting the issue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I don’t think it’s just an issue for women</a:t>
            </a:r>
          </a:p>
        </p:txBody>
      </p:sp>
    </p:spTree>
    <p:extLst>
      <p:ext uri="{BB962C8B-B14F-4D97-AF65-F5344CB8AC3E}">
        <p14:creationId xmlns:p14="http://schemas.microsoft.com/office/powerpoint/2010/main" val="11355644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91CCF9-21DF-744C-BC8B-6C61B0524F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20872" y="762064"/>
            <a:ext cx="6069736" cy="923330"/>
          </a:xfrm>
        </p:spPr>
        <p:txBody>
          <a:bodyPr/>
          <a:lstStyle/>
          <a:p>
            <a:r>
              <a:rPr lang="en-US" sz="3200" dirty="0">
                <a:solidFill>
                  <a:schemeClr val="tx2"/>
                </a:solidFill>
                <a:latin typeface="Palatino Linotype" panose="02040502050505030304" pitchFamily="18" charset="0"/>
              </a:rPr>
              <a:t>Impact on busines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25FCF45-5C88-5E4D-9DA9-3E3B286B9C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20872" y="1880658"/>
            <a:ext cx="7436222" cy="4546600"/>
          </a:xfrm>
        </p:spPr>
        <p:txBody>
          <a:bodyPr/>
          <a:lstStyle/>
          <a:p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000" dirty="0">
                <a:solidFill>
                  <a:schemeClr val="accent1"/>
                </a:solidFill>
              </a:rPr>
              <a:t>Companies in the top quartile for gender diversity on executive teams were 25 percent more likely to have above-average profitability </a:t>
            </a:r>
          </a:p>
          <a:p>
            <a:endParaRPr lang="en-US" sz="2000" dirty="0">
              <a:solidFill>
                <a:schemeClr val="accent1"/>
              </a:solidFill>
            </a:endParaRPr>
          </a:p>
          <a:p>
            <a:r>
              <a:rPr lang="en-US" sz="2000" dirty="0">
                <a:solidFill>
                  <a:schemeClr val="accent1"/>
                </a:solidFill>
              </a:rPr>
              <a:t>Companies with more than 30 percent female executives were more likely to outperform companies where this percentage ranged from 10 to 30</a:t>
            </a:r>
          </a:p>
          <a:p>
            <a:endParaRPr lang="en-US" sz="2000" dirty="0">
              <a:solidFill>
                <a:schemeClr val="accent1"/>
              </a:solidFill>
            </a:endParaRPr>
          </a:p>
          <a:p>
            <a:r>
              <a:rPr lang="en-US" sz="2000" dirty="0">
                <a:solidFill>
                  <a:schemeClr val="accent1"/>
                </a:solidFill>
              </a:rPr>
              <a:t>Companies with women in 30% of corporate leadership translates to a 15% increase in profitability for a typical firm.</a:t>
            </a:r>
          </a:p>
          <a:p>
            <a:endParaRPr lang="en-US" sz="2000" dirty="0">
              <a:solidFill>
                <a:schemeClr val="accent1"/>
              </a:solidFill>
            </a:endParaRPr>
          </a:p>
          <a:p>
            <a:endParaRPr lang="en-US" sz="2000" dirty="0">
              <a:solidFill>
                <a:schemeClr val="accent1"/>
              </a:solidFill>
            </a:endParaRPr>
          </a:p>
          <a:p>
            <a:pPr algn="r"/>
            <a:r>
              <a:rPr lang="en-US" sz="1600" dirty="0">
                <a:solidFill>
                  <a:schemeClr val="accent1"/>
                </a:solidFill>
              </a:rPr>
              <a:t>Sources: HBR, BITC, McKinsey</a:t>
            </a:r>
          </a:p>
          <a:p>
            <a:pPr lvl="0">
              <a:lnSpc>
                <a:spcPct val="150000"/>
              </a:lnSpc>
            </a:pPr>
            <a:endParaRPr lang="en-GB" sz="2000" dirty="0">
              <a:solidFill>
                <a:srgbClr val="7A3E7F"/>
              </a:solidFill>
              <a:cs typeface="Palatino Linotype"/>
            </a:endParaRPr>
          </a:p>
          <a:p>
            <a:pPr lvl="0">
              <a:lnSpc>
                <a:spcPct val="150000"/>
              </a:lnSpc>
            </a:pPr>
            <a:endParaRPr lang="en-GB" sz="2400" dirty="0">
              <a:solidFill>
                <a:srgbClr val="7A3E7F"/>
              </a:solidFill>
              <a:latin typeface="Palatino Linotype"/>
              <a:cs typeface="Palatino Linotype"/>
            </a:endParaRP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3C91DACE-9751-49B5-8C9D-13BC4FAFE15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26949" r="2694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546144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ular Callout 4">
            <a:extLst>
              <a:ext uri="{FF2B5EF4-FFF2-40B4-BE49-F238E27FC236}">
                <a16:creationId xmlns:a16="http://schemas.microsoft.com/office/drawing/2014/main" id="{7FC8A3F3-276C-F041-BA2C-19B006BEAF26}"/>
              </a:ext>
            </a:extLst>
          </p:cNvPr>
          <p:cNvSpPr/>
          <p:nvPr/>
        </p:nvSpPr>
        <p:spPr>
          <a:xfrm>
            <a:off x="2989942" y="663894"/>
            <a:ext cx="4513301" cy="1905364"/>
          </a:xfrm>
          <a:prstGeom prst="wedgeRoundRectCallout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985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The most diverse companies are now more likely than ever to outperform less diverse peers on </a:t>
            </a:r>
            <a:r>
              <a:rPr lang="en-US" sz="1985" b="1" dirty="0">
                <a:solidFill>
                  <a:schemeClr val="accent1">
                    <a:lumMod val="50000"/>
                  </a:schemeClr>
                </a:solidFill>
              </a:rPr>
              <a:t>profitability.</a:t>
            </a:r>
          </a:p>
          <a:p>
            <a:pPr marL="315097" indent="-315097">
              <a:buFont typeface="Courier New" panose="02070309020205020404" pitchFamily="49" charset="0"/>
              <a:buChar char="o"/>
            </a:pPr>
            <a:endParaRPr lang="en-US" sz="1985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985" i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McKinsey</a:t>
            </a:r>
          </a:p>
        </p:txBody>
      </p:sp>
      <p:sp>
        <p:nvSpPr>
          <p:cNvPr id="8" name="Rounded Rectangular Callout 7">
            <a:extLst>
              <a:ext uri="{FF2B5EF4-FFF2-40B4-BE49-F238E27FC236}">
                <a16:creationId xmlns:a16="http://schemas.microsoft.com/office/drawing/2014/main" id="{0B07A857-817D-F941-AA4F-EA8DFC722C69}"/>
              </a:ext>
            </a:extLst>
          </p:cNvPr>
          <p:cNvSpPr/>
          <p:nvPr/>
        </p:nvSpPr>
        <p:spPr>
          <a:xfrm>
            <a:off x="7916901" y="2333362"/>
            <a:ext cx="4853230" cy="3240123"/>
          </a:xfrm>
          <a:prstGeom prst="wedgeRoundRectCallout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985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Because gender-biased firms do not reward employees with responsibilities commensurate with their talent, they lose out to rivals that do not discriminate. Their lack of gender diversity affects </a:t>
            </a:r>
            <a:r>
              <a:rPr lang="en-GB" sz="1985" b="1" dirty="0">
                <a:solidFill>
                  <a:schemeClr val="accent1">
                    <a:lumMod val="50000"/>
                  </a:schemeClr>
                </a:solidFill>
              </a:rPr>
              <a:t>the bottom line.</a:t>
            </a:r>
          </a:p>
          <a:p>
            <a:endParaRPr lang="en-GB" sz="1985" i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GB" sz="1985" i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Harvard Business Review</a:t>
            </a:r>
          </a:p>
        </p:txBody>
      </p:sp>
      <p:sp>
        <p:nvSpPr>
          <p:cNvPr id="9" name="Rounded Rectangular Callout 8">
            <a:extLst>
              <a:ext uri="{FF2B5EF4-FFF2-40B4-BE49-F238E27FC236}">
                <a16:creationId xmlns:a16="http://schemas.microsoft.com/office/drawing/2014/main" id="{6A48F5A3-9F57-F647-AA63-60B4625AEB75}"/>
              </a:ext>
            </a:extLst>
          </p:cNvPr>
          <p:cNvSpPr/>
          <p:nvPr/>
        </p:nvSpPr>
        <p:spPr>
          <a:xfrm>
            <a:off x="1595718" y="3235896"/>
            <a:ext cx="5108475" cy="3353590"/>
          </a:xfrm>
          <a:prstGeom prst="wedgeRoundRectCallout">
            <a:avLst/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985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GB" sz="1985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The commercial imperative for realising women’s potential in the workplace is clear: gender equality enhances employee engagement, </a:t>
            </a:r>
            <a:r>
              <a:rPr lang="en-GB" sz="1985" b="1" dirty="0">
                <a:solidFill>
                  <a:schemeClr val="accent1">
                    <a:lumMod val="50000"/>
                  </a:schemeClr>
                </a:solidFill>
              </a:rPr>
              <a:t>boosts productivity</a:t>
            </a:r>
            <a:r>
              <a:rPr lang="en-GB" sz="1985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n-GB" sz="1985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meets the diverse needs of customers and suppliers, and improves brand reputation.</a:t>
            </a:r>
          </a:p>
          <a:p>
            <a:endParaRPr lang="en-GB" sz="1985" i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GB" sz="1985" i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Business in the Community</a:t>
            </a:r>
          </a:p>
          <a:p>
            <a:endParaRPr lang="en-GB" sz="1985" dirty="0"/>
          </a:p>
        </p:txBody>
      </p:sp>
    </p:spTree>
    <p:extLst>
      <p:ext uri="{BB962C8B-B14F-4D97-AF65-F5344CB8AC3E}">
        <p14:creationId xmlns:p14="http://schemas.microsoft.com/office/powerpoint/2010/main" val="2533096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0233E4-CF83-4B64-B9C4-C80680DB4A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18204" y="834571"/>
            <a:ext cx="6742309" cy="5408159"/>
          </a:xfrm>
        </p:spPr>
        <p:txBody>
          <a:bodyPr/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cs typeface="+mn-cs"/>
              </a:rPr>
              <a:t>Twice as many women aged 25-34 have been made redundant as men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cs typeface="+mn-cs"/>
              </a:rPr>
              <a:t>One in three working mothers has lost work to cope with the extra unpaid duties at home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cs typeface="+mn-cs"/>
              </a:rPr>
              <a:t>71% of mothers had their request for furlough turned down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cs typeface="+mn-cs"/>
              </a:rPr>
              <a:t>25% of women were forced to use annual leave to deal with childcare issues caused by the pandemic.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cs typeface="+mn-cs"/>
              </a:rPr>
              <a:t>Experts fear the number of working mothers in the UK could fall by as much as 20%.</a:t>
            </a:r>
          </a:p>
          <a:p>
            <a:endParaRPr lang="en-GB" dirty="0"/>
          </a:p>
        </p:txBody>
      </p:sp>
      <p:pic>
        <p:nvPicPr>
          <p:cNvPr id="6" name="Picture Placeholder 5" descr="A person sitting at a desk&#10;&#10;Description automatically generated with low confidence">
            <a:extLst>
              <a:ext uri="{FF2B5EF4-FFF2-40B4-BE49-F238E27FC236}">
                <a16:creationId xmlns:a16="http://schemas.microsoft.com/office/drawing/2014/main" id="{A9F159F9-8321-4279-A368-C9403BCE8FE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7873" t="210" r="36025" b="-210"/>
          <a:stretch/>
        </p:blipFill>
        <p:spPr>
          <a:xfrm>
            <a:off x="-22528" y="-17629"/>
            <a:ext cx="5253841" cy="7596428"/>
          </a:xfrm>
        </p:spPr>
      </p:pic>
    </p:spTree>
    <p:extLst>
      <p:ext uri="{BB962C8B-B14F-4D97-AF65-F5344CB8AC3E}">
        <p14:creationId xmlns:p14="http://schemas.microsoft.com/office/powerpoint/2010/main" val="39226905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7C875-5F70-42DA-B4B4-B742A1505A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5190" y="2995448"/>
            <a:ext cx="8240415" cy="1214372"/>
          </a:xfrm>
        </p:spPr>
        <p:txBody>
          <a:bodyPr/>
          <a:lstStyle/>
          <a:p>
            <a:r>
              <a:rPr lang="en-GB" dirty="0"/>
              <a:t>“When women do better, economies do better.”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16CB0D-4AD3-4C0B-8D72-034ED7947A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GB" dirty="0"/>
              <a:t>		</a:t>
            </a:r>
          </a:p>
          <a:p>
            <a:pPr algn="ctr"/>
            <a:r>
              <a:rPr lang="en-GB" dirty="0"/>
              <a:t>Christine Lagarde, World Economic Forum </a:t>
            </a:r>
            <a:endParaRPr lang="en-GB" dirty="0">
              <a:solidFill>
                <a:srgbClr val="FF0000"/>
              </a:solidFill>
            </a:endParaRPr>
          </a:p>
        </p:txBody>
      </p:sp>
      <p:pic>
        <p:nvPicPr>
          <p:cNvPr id="6" name="Picture Placeholder 5" descr="A picture containing text&#10;&#10;Description automatically generated">
            <a:extLst>
              <a:ext uri="{FF2B5EF4-FFF2-40B4-BE49-F238E27FC236}">
                <a16:creationId xmlns:a16="http://schemas.microsoft.com/office/drawing/2014/main" id="{218C1FB3-6AFA-422B-9FD0-04359AB955F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51299" t="250" r="16253" b="-250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31687934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E8932F-7144-4A99-B2B7-BA51740AC8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Enabling conditions for diversity include: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34A0CF7-C52F-442B-9F5E-9C225C10CA30}"/>
              </a:ext>
            </a:extLst>
          </p:cNvPr>
          <p:cNvSpPr/>
          <p:nvPr/>
        </p:nvSpPr>
        <p:spPr>
          <a:xfrm>
            <a:off x="1763486" y="2525877"/>
            <a:ext cx="3969657" cy="189411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Equal pay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1202286-C5BA-445F-9F2A-549C26D36B19}"/>
              </a:ext>
            </a:extLst>
          </p:cNvPr>
          <p:cNvSpPr/>
          <p:nvPr/>
        </p:nvSpPr>
        <p:spPr>
          <a:xfrm>
            <a:off x="7503886" y="2525877"/>
            <a:ext cx="3969657" cy="189411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Participative leadership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79127FB-FC0F-4277-A9F5-FBC39B5C1C54}"/>
              </a:ext>
            </a:extLst>
          </p:cNvPr>
          <p:cNvSpPr/>
          <p:nvPr/>
        </p:nvSpPr>
        <p:spPr>
          <a:xfrm>
            <a:off x="1763485" y="4775591"/>
            <a:ext cx="3969657" cy="189411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Managerial support for diversit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21D0BA3-739A-4628-A3FA-07A65A8319E0}"/>
              </a:ext>
            </a:extLst>
          </p:cNvPr>
          <p:cNvSpPr/>
          <p:nvPr/>
        </p:nvSpPr>
        <p:spPr>
          <a:xfrm>
            <a:off x="7772401" y="4688506"/>
            <a:ext cx="3969657" cy="189411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Open communications procedu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91C3C3-56D2-4D23-AC6D-F32FE02B7950}"/>
              </a:ext>
            </a:extLst>
          </p:cNvPr>
          <p:cNvSpPr txBox="1"/>
          <p:nvPr/>
        </p:nvSpPr>
        <p:spPr>
          <a:xfrm>
            <a:off x="11742058" y="7046685"/>
            <a:ext cx="21190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9B5BA4"/>
                </a:solidFill>
              </a:rPr>
              <a:t>Source: HB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99530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7C875-5F70-42DA-B4B4-B742A1505A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5585" y="2900893"/>
            <a:ext cx="8069340" cy="489120"/>
          </a:xfrm>
        </p:spPr>
        <p:txBody>
          <a:bodyPr/>
          <a:lstStyle/>
          <a:p>
            <a:r>
              <a:rPr lang="en-GB" dirty="0"/>
              <a:t>“Judgments and behaviours toward others that we’re not aware of”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16CB0D-4AD3-4C0B-8D72-034ED7947A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4018" y="4427476"/>
            <a:ext cx="8069340" cy="335638"/>
          </a:xfrm>
        </p:spPr>
        <p:txBody>
          <a:bodyPr/>
          <a:lstStyle/>
          <a:p>
            <a:pPr algn="ctr"/>
            <a:r>
              <a:rPr lang="en-GB" dirty="0"/>
              <a:t>		Harvard Business Review</a:t>
            </a:r>
          </a:p>
        </p:txBody>
      </p:sp>
      <p:pic>
        <p:nvPicPr>
          <p:cNvPr id="10" name="Picture Placeholder 9" descr="A picture containing web, outdoor object&#10;&#10;Description automatically generated">
            <a:extLst>
              <a:ext uri="{FF2B5EF4-FFF2-40B4-BE49-F238E27FC236}">
                <a16:creationId xmlns:a16="http://schemas.microsoft.com/office/drawing/2014/main" id="{A2767B65-0844-4C68-A67A-50F9F09C8D6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7978" r="1797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51433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91CCF9-21DF-744C-BC8B-6C61B0524F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3200" dirty="0">
                <a:solidFill>
                  <a:schemeClr val="tx2"/>
                </a:solidFill>
                <a:latin typeface="Palatino Linotype" panose="02040502050505030304" pitchFamily="18" charset="0"/>
              </a:rPr>
              <a:t>Unconscious bias or everyday sexism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25FCF45-5C88-5E4D-9DA9-3E3B286B9C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670" y="1926717"/>
            <a:ext cx="6827073" cy="4546600"/>
          </a:xfrm>
        </p:spPr>
        <p:txBody>
          <a:bodyPr/>
          <a:lstStyle/>
          <a:p>
            <a:pPr marL="449930" indent="-449930">
              <a:lnSpc>
                <a:spcPct val="150000"/>
              </a:lnSpc>
              <a:buFont typeface="Arial"/>
              <a:buChar char="•"/>
            </a:pPr>
            <a:r>
              <a:rPr lang="en-GB" sz="1800" dirty="0">
                <a:solidFill>
                  <a:srgbClr val="7A3E7F"/>
                </a:solidFill>
                <a:latin typeface="Trebuchet MS"/>
              </a:rPr>
              <a:t>On average, women are promoted at a lower rate than men.</a:t>
            </a:r>
          </a:p>
          <a:p>
            <a:pPr marL="449930" indent="-449930">
              <a:lnSpc>
                <a:spcPct val="150000"/>
              </a:lnSpc>
              <a:buFont typeface="Arial"/>
              <a:buChar char="•"/>
            </a:pPr>
            <a:r>
              <a:rPr lang="en-GB" sz="1800" dirty="0">
                <a:solidFill>
                  <a:srgbClr val="7A3E7F"/>
                </a:solidFill>
                <a:latin typeface="Trebuchet MS"/>
              </a:rPr>
              <a:t>50% of men think women are well represented in leadership in companies where only one in ten senior leaders are women.</a:t>
            </a:r>
          </a:p>
          <a:p>
            <a:pPr marL="449930" indent="-449930">
              <a:lnSpc>
                <a:spcPct val="150000"/>
              </a:lnSpc>
              <a:buFont typeface="Arial"/>
              <a:buChar char="•"/>
            </a:pPr>
            <a:r>
              <a:rPr lang="en-GB" sz="1800" dirty="0">
                <a:solidFill>
                  <a:srgbClr val="7A3E7F"/>
                </a:solidFill>
                <a:latin typeface="Trebuchet MS"/>
              </a:rPr>
              <a:t>Only one in five C-suite leaders is a woman, and fewer than one in 30 is a woman of colour.</a:t>
            </a:r>
          </a:p>
          <a:p>
            <a:pPr marL="449930" indent="-449930">
              <a:lnSpc>
                <a:spcPct val="150000"/>
              </a:lnSpc>
              <a:buFont typeface="Arial"/>
              <a:buChar char="•"/>
            </a:pPr>
            <a:r>
              <a:rPr lang="en-US" sz="1800" dirty="0">
                <a:solidFill>
                  <a:srgbClr val="7A3E7F"/>
                </a:solidFill>
                <a:latin typeface="Trebuchet MS"/>
              </a:rPr>
              <a:t>More than 8 out of ten women work for an employer that pays men more.</a:t>
            </a:r>
            <a:endParaRPr lang="en-GB" sz="1800" dirty="0">
              <a:solidFill>
                <a:srgbClr val="7A3E7F"/>
              </a:solidFill>
              <a:latin typeface="Trebuchet MS"/>
            </a:endParaRPr>
          </a:p>
          <a:p>
            <a:pPr marL="449930" indent="-449930">
              <a:lnSpc>
                <a:spcPct val="150000"/>
              </a:lnSpc>
              <a:buFont typeface="Arial"/>
              <a:buChar char="•"/>
            </a:pPr>
            <a:r>
              <a:rPr lang="en-US" sz="1800" dirty="0">
                <a:solidFill>
                  <a:srgbClr val="7A3E7F"/>
                </a:solidFill>
                <a:latin typeface="Trebuchet MS"/>
              </a:rPr>
              <a:t>2 million women work a second shift: unpaid labour or care performed at home.</a:t>
            </a:r>
            <a:endParaRPr lang="en-GB" sz="1800" dirty="0">
              <a:solidFill>
                <a:srgbClr val="7A3E7F"/>
              </a:solidFill>
              <a:latin typeface="Trebuchet MS"/>
            </a:endParaRPr>
          </a:p>
          <a:p>
            <a:pPr marL="464102" indent="-449930">
              <a:lnSpc>
                <a:spcPct val="150000"/>
              </a:lnSpc>
              <a:spcAft>
                <a:spcPts val="1313"/>
              </a:spcAft>
              <a:buClr>
                <a:srgbClr val="512654"/>
              </a:buClr>
              <a:buFont typeface="Arial"/>
              <a:buChar char="•"/>
              <a:defRPr/>
            </a:pPr>
            <a:r>
              <a:rPr lang="en-GB" sz="1800" dirty="0">
                <a:solidFill>
                  <a:srgbClr val="7A3E7F"/>
                </a:solidFill>
                <a:latin typeface="Trebuchet MS"/>
              </a:rPr>
              <a:t>Less than 1% of venture capital funds allocated to start-ups run entirely by women.</a:t>
            </a:r>
          </a:p>
          <a:p>
            <a:pPr lvl="0">
              <a:lnSpc>
                <a:spcPct val="150000"/>
              </a:lnSpc>
            </a:pPr>
            <a:endParaRPr lang="en-GB" sz="1800" dirty="0">
              <a:solidFill>
                <a:srgbClr val="7A3E7F"/>
              </a:solidFill>
              <a:cs typeface="Palatino Linotype"/>
            </a:endParaRPr>
          </a:p>
          <a:p>
            <a:pPr lvl="0">
              <a:lnSpc>
                <a:spcPct val="150000"/>
              </a:lnSpc>
            </a:pPr>
            <a:endParaRPr lang="en-GB" sz="2400" dirty="0">
              <a:solidFill>
                <a:srgbClr val="7A3E7F"/>
              </a:solidFill>
              <a:latin typeface="Palatino Linotype"/>
              <a:cs typeface="Palatino Linotype"/>
            </a:endParaRP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D67619A4-8A20-4F72-9195-5EFDF667E97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5810" r="2581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951697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7C875-5F70-42DA-B4B4-B742A1505A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5190" y="2774731"/>
            <a:ext cx="9019735" cy="1261240"/>
          </a:xfrm>
        </p:spPr>
        <p:txBody>
          <a:bodyPr/>
          <a:lstStyle/>
          <a:p>
            <a:r>
              <a:rPr lang="en-GB" dirty="0"/>
              <a:t>“It takes courage to be the one, perhaps the only one, who calls out the behaviour as unhelpful to a productive work environment.”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16CB0D-4AD3-4C0B-8D72-034ED7947A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GB" dirty="0"/>
              <a:t>		</a:t>
            </a:r>
          </a:p>
          <a:p>
            <a:pPr algn="ctr"/>
            <a:r>
              <a:rPr lang="en-GB" dirty="0"/>
              <a:t>Amber Lee Williams, Walmart</a:t>
            </a:r>
          </a:p>
        </p:txBody>
      </p:sp>
      <p:pic>
        <p:nvPicPr>
          <p:cNvPr id="6" name="Picture Placeholder 5" descr="A picture containing indoor&#10;&#10;Description automatically generated">
            <a:extLst>
              <a:ext uri="{FF2B5EF4-FFF2-40B4-BE49-F238E27FC236}">
                <a16:creationId xmlns:a16="http://schemas.microsoft.com/office/drawing/2014/main" id="{DCFBAEE2-DEB2-4273-9392-46000E82BEB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4956" t="34" r="48550" b="-34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4396652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203AA9-2E2F-4F8F-8FCF-DA8ABA0E9F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3200" dirty="0">
                <a:solidFill>
                  <a:schemeClr val="tx2"/>
                </a:solidFill>
                <a:latin typeface="Palatino Linotype" panose="02040502050505030304" pitchFamily="18" charset="0"/>
              </a:rPr>
              <a:t>Calling it 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EBCF0B-5124-423C-BA08-7D766FE80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670" y="1781574"/>
            <a:ext cx="6747244" cy="4546600"/>
          </a:xfrm>
        </p:spPr>
        <p:txBody>
          <a:bodyPr/>
          <a:lstStyle/>
          <a:p>
            <a:pPr marL="342900" marR="0" lvl="0" indent="-34290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arness your emotional intelligence – stay calm.</a:t>
            </a:r>
          </a:p>
          <a:p>
            <a:pPr marR="0" lvl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ut another point of view forward there and then.</a:t>
            </a:r>
          </a:p>
          <a:p>
            <a:pPr marR="0" lvl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est your reaction on a trusted advisor.</a:t>
            </a:r>
          </a:p>
          <a:p>
            <a:pPr marR="0" lvl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lan what you want to say.</a:t>
            </a:r>
          </a:p>
          <a:p>
            <a:pPr marR="0" lvl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ive your feedback factually and objectively.</a:t>
            </a:r>
          </a:p>
          <a:p>
            <a:pPr marR="0" lvl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342900" marR="0" lvl="0" indent="-34290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pen a dialogue.</a:t>
            </a:r>
          </a:p>
          <a:p>
            <a:endParaRPr lang="en-GB" dirty="0"/>
          </a:p>
        </p:txBody>
      </p:sp>
      <p:pic>
        <p:nvPicPr>
          <p:cNvPr id="6" name="Picture Placeholder 5" descr="Icon&#10;&#10;Description automatically generated">
            <a:extLst>
              <a:ext uri="{FF2B5EF4-FFF2-40B4-BE49-F238E27FC236}">
                <a16:creationId xmlns:a16="http://schemas.microsoft.com/office/drawing/2014/main" id="{A68BD082-7DF5-44BA-8816-3D5C65CF18E9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2345" t="143" r="46007" b="-143"/>
          <a:stretch/>
        </p:blipFill>
        <p:spPr>
          <a:xfrm>
            <a:off x="8212950" y="-28722"/>
            <a:ext cx="5279456" cy="7602408"/>
          </a:xfrm>
        </p:spPr>
      </p:pic>
    </p:spTree>
    <p:extLst>
      <p:ext uri="{BB962C8B-B14F-4D97-AF65-F5344CB8AC3E}">
        <p14:creationId xmlns:p14="http://schemas.microsoft.com/office/powerpoint/2010/main" val="2592075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5148493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D52">
                  <a:lumMod val="40000"/>
                  <a:lumOff val="6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5717453" y="2873484"/>
            <a:ext cx="46388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+mn-cs"/>
              </a:rPr>
              <a:t>Director of Lear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3A1D3C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A1D3C">
                    <a:lumMod val="90000"/>
                    <a:lumOff val="10000"/>
                  </a:srgbClr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Avenir Next" charset="0"/>
              </a:rPr>
              <a:t>Kate Farro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74D52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Avenir Next Demi Bold" charset="0"/>
              </a:rPr>
              <a:t>kate@everywoman.com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</p:txBody>
      </p:sp>
      <p:pic>
        <p:nvPicPr>
          <p:cNvPr id="13" name="Picture Placeholder 18">
            <a:extLst>
              <a:ext uri="{FF2B5EF4-FFF2-40B4-BE49-F238E27FC236}">
                <a16:creationId xmlns:a16="http://schemas.microsoft.com/office/drawing/2014/main" id="{1DAE59CC-10EB-4D41-B8AF-6CCF939BB5F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9488" y="2376666"/>
            <a:ext cx="2749003" cy="2809518"/>
          </a:xfrm>
        </p:spPr>
      </p:pic>
    </p:spTree>
    <p:extLst>
      <p:ext uri="{BB962C8B-B14F-4D97-AF65-F5344CB8AC3E}">
        <p14:creationId xmlns:p14="http://schemas.microsoft.com/office/powerpoint/2010/main" val="19297405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0B48E1-AD76-4E15-BDC0-31FCF1DF2F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Inclusive leadership action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42CAD7F-D957-492B-B536-3D2FB075BA8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8285" y="2001850"/>
            <a:ext cx="3083057" cy="1992708"/>
          </a:xfrm>
        </p:spPr>
        <p:txBody>
          <a:bodyPr/>
          <a:lstStyle/>
          <a:p>
            <a:r>
              <a:rPr lang="en-GB" sz="2400" dirty="0">
                <a:latin typeface="+mn-lt"/>
              </a:rPr>
              <a:t>Create a diverse team</a:t>
            </a:r>
            <a:r>
              <a:rPr lang="en-GB" dirty="0"/>
              <a:t>	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364CEFD-7051-4EF5-9888-D33C67105E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650461" y="2001850"/>
            <a:ext cx="3083057" cy="1992708"/>
          </a:xfrm>
        </p:spPr>
        <p:txBody>
          <a:bodyPr/>
          <a:lstStyle/>
          <a:p>
            <a:r>
              <a:rPr lang="en-GB" sz="2400" dirty="0">
                <a:latin typeface="+mn-lt"/>
              </a:rPr>
              <a:t>Recognise differenc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022ED02-7A5D-4D9A-95B2-CBBFB2522E2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702449" y="2001850"/>
            <a:ext cx="3083057" cy="1992708"/>
          </a:xfrm>
        </p:spPr>
        <p:txBody>
          <a:bodyPr/>
          <a:lstStyle/>
          <a:p>
            <a:r>
              <a:rPr lang="en-GB" sz="2400" dirty="0">
                <a:latin typeface="+mn-lt"/>
              </a:rPr>
              <a:t>Build trust and a safe environmen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580E89F-B063-4F25-8A78-5133A287D6A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98379" y="4735054"/>
            <a:ext cx="3083057" cy="1992708"/>
          </a:xfrm>
        </p:spPr>
        <p:txBody>
          <a:bodyPr/>
          <a:lstStyle/>
          <a:p>
            <a:pPr algn="l"/>
            <a:r>
              <a:rPr lang="en-GB" sz="2400" dirty="0">
                <a:latin typeface="+mn-lt"/>
              </a:rPr>
              <a:t>Get to know individuals’ stori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FDD257-99BB-4EED-A046-B06ABF57EAD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50461" y="4735054"/>
            <a:ext cx="3083057" cy="1992708"/>
          </a:xfrm>
        </p:spPr>
        <p:txBody>
          <a:bodyPr/>
          <a:lstStyle/>
          <a:p>
            <a:pPr algn="l"/>
            <a:r>
              <a:rPr lang="en-GB" sz="2400" dirty="0">
                <a:latin typeface="+mn-lt"/>
              </a:rPr>
              <a:t>Value individual perspectives and contributi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260C5AD-AD1E-4FEA-AD4F-14C5B05D3ED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702543" y="4735054"/>
            <a:ext cx="3083057" cy="1992708"/>
          </a:xfrm>
        </p:spPr>
        <p:txBody>
          <a:bodyPr/>
          <a:lstStyle/>
          <a:p>
            <a:pPr algn="l"/>
            <a:r>
              <a:rPr lang="en-GB" sz="2400" dirty="0">
                <a:latin typeface="+mn-lt"/>
              </a:rPr>
              <a:t>Do what you can to influence the organisation</a:t>
            </a:r>
          </a:p>
        </p:txBody>
      </p:sp>
    </p:spTree>
    <p:extLst>
      <p:ext uri="{BB962C8B-B14F-4D97-AF65-F5344CB8AC3E}">
        <p14:creationId xmlns:p14="http://schemas.microsoft.com/office/powerpoint/2010/main" val="17006157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standing together&#10;&#10;Description automatically generated with low confidence">
            <a:extLst>
              <a:ext uri="{FF2B5EF4-FFF2-40B4-BE49-F238E27FC236}">
                <a16:creationId xmlns:a16="http://schemas.microsoft.com/office/drawing/2014/main" id="{BA5DD6DA-9D9C-41C7-A2E0-988015CBA93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16114" y="-259968"/>
            <a:ext cx="13560652" cy="801416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5F953D0-DF0B-4D32-B350-93C3A4EC06E3}"/>
              </a:ext>
            </a:extLst>
          </p:cNvPr>
          <p:cNvSpPr/>
          <p:nvPr/>
        </p:nvSpPr>
        <p:spPr>
          <a:xfrm>
            <a:off x="-130629" y="-259968"/>
            <a:ext cx="13589681" cy="148045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24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515F5743-7520-408E-AC17-D4BE6B4CBC1E}"/>
              </a:ext>
            </a:extLst>
          </p:cNvPr>
          <p:cNvSpPr txBox="1">
            <a:spLocks/>
          </p:cNvSpPr>
          <p:nvPr/>
        </p:nvSpPr>
        <p:spPr>
          <a:xfrm>
            <a:off x="323109" y="377883"/>
            <a:ext cx="11881818" cy="92333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GB" sz="3000" dirty="0">
                <a:solidFill>
                  <a:schemeClr val="accent1"/>
                </a:solidFill>
                <a:latin typeface="Palatino" pitchFamily="2" charset="77"/>
              </a:rPr>
              <a:t>Celebrate achievements</a:t>
            </a:r>
          </a:p>
        </p:txBody>
      </p:sp>
    </p:spTree>
    <p:extLst>
      <p:ext uri="{BB962C8B-B14F-4D97-AF65-F5344CB8AC3E}">
        <p14:creationId xmlns:p14="http://schemas.microsoft.com/office/powerpoint/2010/main" val="3657084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and person smiling&#10;&#10;Description automatically generated with low confidence">
            <a:extLst>
              <a:ext uri="{FF2B5EF4-FFF2-40B4-BE49-F238E27FC236}">
                <a16:creationId xmlns:a16="http://schemas.microsoft.com/office/drawing/2014/main" id="{6B389905-A6F3-4CB9-B04B-B5CA0FEEEED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-304347"/>
            <a:ext cx="13444538" cy="896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1653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Two: How will you choose to challenge?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5375" y="3845749"/>
            <a:ext cx="11965262" cy="492365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2000" dirty="0">
                <a:solidFill>
                  <a:schemeClr val="accent1"/>
                </a:solidFill>
                <a:latin typeface="Trebuchet MS" panose="020B0603020202020204" pitchFamily="34" charset="0"/>
              </a:rPr>
              <a:t>You may do more than one thing but choose the action you can most readily commit to:</a:t>
            </a: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r>
              <a:rPr lang="en-US" sz="2400" b="1" dirty="0">
                <a:solidFill>
                  <a:schemeClr val="accent1"/>
                </a:solidFill>
                <a:latin typeface="Trebuchet MS" panose="020B0603020202020204" pitchFamily="34" charset="0"/>
              </a:rPr>
              <a:t>: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I will summon the courage to call out gender bias or inappropriate behaviour</a:t>
            </a: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I will find ways to celebrate achievement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I will recruit a male ally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I will get the conversation going in my company/division/team</a:t>
            </a:r>
          </a:p>
        </p:txBody>
      </p:sp>
    </p:spTree>
    <p:extLst>
      <p:ext uri="{BB962C8B-B14F-4D97-AF65-F5344CB8AC3E}">
        <p14:creationId xmlns:p14="http://schemas.microsoft.com/office/powerpoint/2010/main" val="25508767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oup of people sitting posing for the camera&#10;&#10;Description automatically generated">
            <a:extLst>
              <a:ext uri="{FF2B5EF4-FFF2-40B4-BE49-F238E27FC236}">
                <a16:creationId xmlns:a16="http://schemas.microsoft.com/office/drawing/2014/main" id="{191B74CE-A290-CB4B-BCDE-37811F03B37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444538" cy="7562850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4AD0A5-5815-D844-AD37-A6F496A24043}"/>
              </a:ext>
            </a:extLst>
          </p:cNvPr>
          <p:cNvSpPr txBox="1"/>
          <p:nvPr/>
        </p:nvSpPr>
        <p:spPr>
          <a:xfrm>
            <a:off x="2065503" y="478000"/>
            <a:ext cx="9313532" cy="729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3000"/>
              </a:lnSpc>
            </a:pPr>
            <a:r>
              <a:rPr lang="en-GB" altLang="en-US" sz="3200" dirty="0">
                <a:solidFill>
                  <a:schemeClr val="bg1"/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7720862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7D4516-7CB5-4EEB-81B1-1532D25155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Dates for your diary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19AB6C2-F5D6-4235-A9CF-5CED99A41D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4590923"/>
              </p:ext>
            </p:extLst>
          </p:nvPr>
        </p:nvGraphicFramePr>
        <p:xfrm>
          <a:off x="785670" y="1699909"/>
          <a:ext cx="8069339" cy="46972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5155">
                  <a:extLst>
                    <a:ext uri="{9D8B030D-6E8A-4147-A177-3AD203B41FA5}">
                      <a16:colId xmlns:a16="http://schemas.microsoft.com/office/drawing/2014/main" val="57637679"/>
                    </a:ext>
                  </a:extLst>
                </a:gridCol>
                <a:gridCol w="958216">
                  <a:extLst>
                    <a:ext uri="{9D8B030D-6E8A-4147-A177-3AD203B41FA5}">
                      <a16:colId xmlns:a16="http://schemas.microsoft.com/office/drawing/2014/main" val="3930799977"/>
                    </a:ext>
                  </a:extLst>
                </a:gridCol>
                <a:gridCol w="5235968">
                  <a:extLst>
                    <a:ext uri="{9D8B030D-6E8A-4147-A177-3AD203B41FA5}">
                      <a16:colId xmlns:a16="http://schemas.microsoft.com/office/drawing/2014/main" val="29856892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ime (U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op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854572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8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0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Building powerful habits to feel productive, focused and energis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9290624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4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3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Say what you mean, mean what you say, and get what you wa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1979630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5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0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Coffee break: Women and the domestic burde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07972868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9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1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Are you a warrior, magician or queen? How archetypes can help us develop as lead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7271874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8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Apr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5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“No” is a full sent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1054046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2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Apr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4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Overcoming imposter syndro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3249969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Apr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6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Leading through influ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8274881"/>
                  </a:ext>
                </a:extLst>
              </a:tr>
            </a:tbl>
          </a:graphicData>
        </a:graphic>
      </p:graphicFrame>
      <p:pic>
        <p:nvPicPr>
          <p:cNvPr id="8" name="Picture Placeholder 7" descr="Calendar&#10;&#10;Description automatically generated">
            <a:extLst>
              <a:ext uri="{FF2B5EF4-FFF2-40B4-BE49-F238E27FC236}">
                <a16:creationId xmlns:a16="http://schemas.microsoft.com/office/drawing/2014/main" id="{2855A909-1D59-46AE-A8AA-5206BB220EC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0362" t="-112" r="37412" b="112"/>
          <a:stretch/>
        </p:blipFill>
        <p:spPr>
          <a:xfrm>
            <a:off x="9798677" y="-27879"/>
            <a:ext cx="3673742" cy="7601563"/>
          </a:xfrm>
        </p:spPr>
      </p:pic>
    </p:spTree>
    <p:extLst>
      <p:ext uri="{BB962C8B-B14F-4D97-AF65-F5344CB8AC3E}">
        <p14:creationId xmlns:p14="http://schemas.microsoft.com/office/powerpoint/2010/main" val="2684414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B83923-0B9A-0841-965D-041D24F157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1979" y="531867"/>
            <a:ext cx="6069736" cy="923330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Dialling</a:t>
            </a:r>
            <a:r>
              <a:rPr lang="en-US" dirty="0">
                <a:solidFill>
                  <a:schemeClr val="tx2"/>
                </a:solidFill>
              </a:rPr>
              <a:t> in</a:t>
            </a:r>
          </a:p>
          <a:p>
            <a:r>
              <a:rPr lang="en-US" sz="2000" dirty="0"/>
              <a:t>You will not need a microph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175196-B032-434C-9B3E-CD59D752C2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71979" y="1557505"/>
            <a:ext cx="6069663" cy="2692093"/>
          </a:xfrm>
        </p:spPr>
        <p:txBody>
          <a:bodyPr/>
          <a:lstStyle/>
          <a:p>
            <a:pPr algn="l">
              <a:lnSpc>
                <a:spcPct val="150000"/>
              </a:lnSpc>
              <a:defRPr/>
            </a:pPr>
            <a:r>
              <a:rPr lang="en-GB" sz="1600" b="1" dirty="0">
                <a:solidFill>
                  <a:schemeClr val="accent1"/>
                </a:solidFill>
                <a:latin typeface="Trebuchet MS" pitchFamily="34" charset="0"/>
              </a:rPr>
              <a:t>To use headphones: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 dirty="0">
                <a:latin typeface="Trebuchet MS" pitchFamily="34" charset="0"/>
              </a:rPr>
              <a:t>click ‘Call Using Computer’</a:t>
            </a:r>
            <a:br>
              <a:rPr lang="en-GB" sz="1600" dirty="0">
                <a:latin typeface="Trebuchet MS" pitchFamily="34" charset="0"/>
              </a:rPr>
            </a:br>
            <a:endParaRPr lang="en-GB" sz="1600" dirty="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 b="1" dirty="0">
                <a:solidFill>
                  <a:schemeClr val="accent1"/>
                </a:solidFill>
                <a:latin typeface="Trebuchet MS" pitchFamily="34" charset="0"/>
              </a:rPr>
              <a:t>To dial in and listen via phone: 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 dirty="0">
                <a:latin typeface="Trebuchet MS" pitchFamily="34" charset="0"/>
              </a:rPr>
              <a:t>CLICK ‘Phone Call’ </a:t>
            </a:r>
            <a:br>
              <a:rPr lang="en-GB" sz="1600" dirty="0">
                <a:latin typeface="Trebuchet MS" pitchFamily="34" charset="0"/>
              </a:rPr>
            </a:br>
            <a:endParaRPr lang="en-GB" sz="1600" dirty="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 dirty="0">
                <a:latin typeface="Trebuchet MS" pitchFamily="34" charset="0"/>
              </a:rPr>
              <a:t>and follow the instructions on screen</a:t>
            </a:r>
          </a:p>
          <a:p>
            <a:pPr algn="l">
              <a:lnSpc>
                <a:spcPct val="150000"/>
              </a:lnSpc>
              <a:defRPr/>
            </a:pPr>
            <a:endParaRPr lang="en-GB" sz="1600" dirty="0">
              <a:latin typeface="Trebuchet MS" pitchFamily="34" charset="0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88AD465-AFD6-DA43-A542-B1D91C254A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979" y="4329985"/>
            <a:ext cx="4914900" cy="2771775"/>
          </a:xfrm>
          <a:prstGeom prst="rect">
            <a:avLst/>
          </a:prstGeom>
        </p:spPr>
      </p:pic>
      <p:pic>
        <p:nvPicPr>
          <p:cNvPr id="8" name="image5.png">
            <a:extLst>
              <a:ext uri="{FF2B5EF4-FFF2-40B4-BE49-F238E27FC236}">
                <a16:creationId xmlns:a16="http://schemas.microsoft.com/office/drawing/2014/main" id="{5DD890D4-831F-1C4A-9B53-7540D829544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2806" y="4329985"/>
            <a:ext cx="3507703" cy="2724699"/>
          </a:xfrm>
          <a:prstGeom prst="rect">
            <a:avLst/>
          </a:prstGeom>
          <a:ln w="38100">
            <a:noFill/>
          </a:ln>
        </p:spPr>
      </p:pic>
      <p:pic>
        <p:nvPicPr>
          <p:cNvPr id="12" name="Picture Placeholder 11" descr="A person taking a selfie&#10;&#10;Description automatically generated">
            <a:extLst>
              <a:ext uri="{FF2B5EF4-FFF2-40B4-BE49-F238E27FC236}">
                <a16:creationId xmlns:a16="http://schemas.microsoft.com/office/drawing/2014/main" id="{090F978A-F985-1346-9C6D-F3A887622F0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288"/>
            <a:ext cx="3697288" cy="7596188"/>
          </a:xfrm>
        </p:spPr>
      </p:pic>
    </p:spTree>
    <p:extLst>
      <p:ext uri="{BB962C8B-B14F-4D97-AF65-F5344CB8AC3E}">
        <p14:creationId xmlns:p14="http://schemas.microsoft.com/office/powerpoint/2010/main" val="807808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743824"/>
            <a:ext cx="9016409" cy="543043"/>
          </a:xfrm>
        </p:spPr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1492236"/>
            <a:ext cx="9016409" cy="38957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1600" b="1">
                <a:solidFill>
                  <a:schemeClr val="bg1"/>
                </a:solidFill>
                <a:latin typeface="Trebuchet MS" panose="020B0603020202020204" pitchFamily="34" charset="0"/>
              </a:rPr>
              <a:t>Send a question on the webinar</a:t>
            </a: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23" name="Picture Placeholder 9">
            <a:extLst>
              <a:ext uri="{FF2B5EF4-FFF2-40B4-BE49-F238E27FC236}">
                <a16:creationId xmlns:a16="http://schemas.microsoft.com/office/drawing/2014/main" id="{49063ABE-07D8-D145-B97B-D5121EA874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179"/>
          <a:stretch/>
        </p:blipFill>
        <p:spPr>
          <a:xfrm>
            <a:off x="8274706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</p:pic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8A80F36-A2A4-044F-BB32-57EACA401B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268" y="2186250"/>
            <a:ext cx="2915074" cy="4831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670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Let’s get chatting</a:t>
            </a:r>
          </a:p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using the chat function</a:t>
            </a:r>
          </a:p>
        </p:txBody>
      </p:sp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9177A719-81B2-45C8-9167-D18B8D51F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1130" y="2429636"/>
            <a:ext cx="4226147" cy="451429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77CEC2-88DC-4E38-A893-3A9FCE61D04F}"/>
              </a:ext>
            </a:extLst>
          </p:cNvPr>
          <p:cNvSpPr/>
          <p:nvPr/>
        </p:nvSpPr>
        <p:spPr>
          <a:xfrm>
            <a:off x="6858000" y="5676900"/>
            <a:ext cx="2457450" cy="647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Picture Placeholder 6" descr="A person using a computer&#10;&#10;Description automatically generated">
            <a:extLst>
              <a:ext uri="{FF2B5EF4-FFF2-40B4-BE49-F238E27FC236}">
                <a16:creationId xmlns:a16="http://schemas.microsoft.com/office/drawing/2014/main" id="{9721A5E0-C081-4338-960F-3BABB8CD620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1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4232771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357C69DD-AD14-428D-8FEA-CB039D9D4D1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duotone>
              <a:prstClr val="black"/>
              <a:srgbClr val="51225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93723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C7DFA971-1C05-4A87-A67F-0A7F8CC327BA}"/>
              </a:ext>
            </a:extLst>
          </p:cNvPr>
          <p:cNvSpPr txBox="1"/>
          <p:nvPr/>
        </p:nvSpPr>
        <p:spPr>
          <a:xfrm>
            <a:off x="1045029" y="604162"/>
            <a:ext cx="894021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JOIN THE EVERYWOMAN COMMUNIT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be part of the conver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B63090-7BD5-1C49-99E1-F38A00A48412}"/>
              </a:ext>
            </a:extLst>
          </p:cNvPr>
          <p:cNvSpPr/>
          <p:nvPr/>
        </p:nvSpPr>
        <p:spPr>
          <a:xfrm>
            <a:off x="1045028" y="5054258"/>
            <a:ext cx="1174054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If you enjoyed this everywomanNetwork webinar, share it on your favourite social channel, tagging everywoman and using #ewNetwork </a:t>
            </a:r>
          </a:p>
        </p:txBody>
      </p:sp>
      <p:pic>
        <p:nvPicPr>
          <p:cNvPr id="7" name="Picture 6" descr="A picture containing object, kit, drawing, table&#10;&#10;Description automatically generated">
            <a:extLst>
              <a:ext uri="{FF2B5EF4-FFF2-40B4-BE49-F238E27FC236}">
                <a16:creationId xmlns:a16="http://schemas.microsoft.com/office/drawing/2014/main" id="{8114EBB9-9580-B94D-B573-D73D28521C7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2905" y="2588013"/>
            <a:ext cx="1193800" cy="11430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AE533CA0-6F96-F04D-A546-DDA40B6DA5A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2251" y="2588013"/>
            <a:ext cx="1193800" cy="1143000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0D88AF0-581D-E14F-B3F7-D5BDCAA287E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8917" y="2588013"/>
            <a:ext cx="1193800" cy="1143000"/>
          </a:xfrm>
          <a:prstGeom prst="rect">
            <a:avLst/>
          </a:prstGeom>
        </p:spPr>
      </p:pic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FEA56A9-0861-BF48-8FC9-54EE83369EC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2578" y="2588013"/>
            <a:ext cx="1193800" cy="1143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BC801D7-6D57-FB4A-BAB9-E6DF51CF9804}"/>
              </a:ext>
            </a:extLst>
          </p:cNvPr>
          <p:cNvSpPr/>
          <p:nvPr/>
        </p:nvSpPr>
        <p:spPr>
          <a:xfrm>
            <a:off x="1227909" y="3894636"/>
            <a:ext cx="21746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LTD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7523AE-DB92-F245-BB1A-88011020A8EF}"/>
              </a:ext>
            </a:extLst>
          </p:cNvPr>
          <p:cNvSpPr/>
          <p:nvPr/>
        </p:nvSpPr>
        <p:spPr>
          <a:xfrm flipH="1">
            <a:off x="4016268" y="389463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99B33E-62CB-934C-ACE9-DFEF341F0039}"/>
              </a:ext>
            </a:extLst>
          </p:cNvPr>
          <p:cNvSpPr/>
          <p:nvPr/>
        </p:nvSpPr>
        <p:spPr>
          <a:xfrm flipH="1">
            <a:off x="6987508" y="390774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B717E8-EE95-464D-84D3-DF4761B4591C}"/>
              </a:ext>
            </a:extLst>
          </p:cNvPr>
          <p:cNvSpPr/>
          <p:nvPr/>
        </p:nvSpPr>
        <p:spPr>
          <a:xfrm flipH="1">
            <a:off x="9787835" y="392085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442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5148493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5717453" y="2873484"/>
            <a:ext cx="463887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>
              <a:solidFill>
                <a:schemeClr val="accent2"/>
              </a:solidFill>
            </a:endParaRPr>
          </a:p>
          <a:p>
            <a:r>
              <a:rPr lang="en-US" sz="2400">
                <a:solidFill>
                  <a:schemeClr val="tx2">
                    <a:lumMod val="90000"/>
                    <a:lumOff val="10000"/>
                  </a:schemeClr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Pippa Isbell</a:t>
            </a:r>
          </a:p>
          <a:p>
            <a:endParaRPr lang="en-US" sz="2400">
              <a:solidFill>
                <a:schemeClr val="tx2">
                  <a:lumMod val="90000"/>
                  <a:lumOff val="10000"/>
                </a:schemeClr>
              </a:solidFill>
              <a:latin typeface="Palatino" pitchFamily="2" charset="77"/>
              <a:ea typeface="Palatino" pitchFamily="2" charset="77"/>
              <a:cs typeface="Avenir Next" charset="0"/>
            </a:endParaRPr>
          </a:p>
          <a:p>
            <a:r>
              <a:rPr lang="en-US" sz="2000">
                <a:solidFill>
                  <a:schemeClr val="accent1"/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everywoman expert</a:t>
            </a:r>
          </a:p>
        </p:txBody>
      </p:sp>
      <p:pic>
        <p:nvPicPr>
          <p:cNvPr id="13" name="Picture Placeholder 18">
            <a:extLst>
              <a:ext uri="{FF2B5EF4-FFF2-40B4-BE49-F238E27FC236}">
                <a16:creationId xmlns:a16="http://schemas.microsoft.com/office/drawing/2014/main" id="{1DAE59CC-10EB-4D41-B8AF-6CCF939BB5F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5748" y="2376666"/>
            <a:ext cx="2695996" cy="2809518"/>
          </a:xfrm>
        </p:spPr>
      </p:pic>
    </p:spTree>
    <p:extLst>
      <p:ext uri="{BB962C8B-B14F-4D97-AF65-F5344CB8AC3E}">
        <p14:creationId xmlns:p14="http://schemas.microsoft.com/office/powerpoint/2010/main" val="889095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802785F-90BC-4DF6-ABFE-B1EE4B97DD3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0"/>
            <a:ext cx="13444538" cy="896302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88FD0A-5736-4AC3-B609-B85B346614B0}"/>
              </a:ext>
            </a:extLst>
          </p:cNvPr>
          <p:cNvSpPr/>
          <p:nvPr/>
        </p:nvSpPr>
        <p:spPr>
          <a:xfrm>
            <a:off x="0" y="6198889"/>
            <a:ext cx="13589681" cy="148045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24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571F219B-6E05-4A02-A585-032220752D66}"/>
              </a:ext>
            </a:extLst>
          </p:cNvPr>
          <p:cNvSpPr txBox="1">
            <a:spLocks/>
          </p:cNvSpPr>
          <p:nvPr/>
        </p:nvSpPr>
        <p:spPr>
          <a:xfrm>
            <a:off x="453738" y="6662572"/>
            <a:ext cx="11881818" cy="92333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GB" sz="3000" dirty="0">
                <a:solidFill>
                  <a:schemeClr val="accent1"/>
                </a:solidFill>
                <a:latin typeface="Palatino" pitchFamily="2" charset="77"/>
              </a:rPr>
              <a:t>Let’s all #ChooseToChallenge</a:t>
            </a:r>
          </a:p>
        </p:txBody>
      </p:sp>
    </p:spTree>
    <p:extLst>
      <p:ext uri="{BB962C8B-B14F-4D97-AF65-F5344CB8AC3E}">
        <p14:creationId xmlns:p14="http://schemas.microsoft.com/office/powerpoint/2010/main" val="363872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verywoman Master">
      <a:dk1>
        <a:srgbClr val="474D52"/>
      </a:dk1>
      <a:lt1>
        <a:sysClr val="window" lastClr="FFFFFF"/>
      </a:lt1>
      <a:dk2>
        <a:srgbClr val="3A1D3C"/>
      </a:dk2>
      <a:lt2>
        <a:srgbClr val="FFFFFE"/>
      </a:lt2>
      <a:accent1>
        <a:srgbClr val="7A3E7F"/>
      </a:accent1>
      <a:accent2>
        <a:srgbClr val="3A1D3C"/>
      </a:accent2>
      <a:accent3>
        <a:srgbClr val="7A3E7F"/>
      </a:accent3>
      <a:accent4>
        <a:srgbClr val="3A1D3C"/>
      </a:accent4>
      <a:accent5>
        <a:srgbClr val="7A3E7F"/>
      </a:accent5>
      <a:accent6>
        <a:srgbClr val="3A1D3C"/>
      </a:accent6>
      <a:hlink>
        <a:srgbClr val="7A3E7F"/>
      </a:hlink>
      <a:folHlink>
        <a:srgbClr val="3A1D3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13bc8d5f-976e-4ee4-8dfa-c1c3e2bfcca8" xsi:nil="true"/>
    <SharedWithUsers xmlns="436efcba-ea16-46f8-8b91-d64e6f1f03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8033A711D90040B3829C1AE45B138E" ma:contentTypeVersion="13" ma:contentTypeDescription="Create a new document." ma:contentTypeScope="" ma:versionID="c55fd9806ccf366581c39f6575989e1d">
  <xsd:schema xmlns:xsd="http://www.w3.org/2001/XMLSchema" xmlns:xs="http://www.w3.org/2001/XMLSchema" xmlns:p="http://schemas.microsoft.com/office/2006/metadata/properties" xmlns:ns2="13bc8d5f-976e-4ee4-8dfa-c1c3e2bfcca8" xmlns:ns3="436efcba-ea16-46f8-8b91-d64e6f1f03e5" targetNamespace="http://schemas.microsoft.com/office/2006/metadata/properties" ma:root="true" ma:fieldsID="36de0ba1ff767faeaa9f45077c5b3caf" ns2:_="" ns3:_="">
    <xsd:import namespace="13bc8d5f-976e-4ee4-8dfa-c1c3e2bfcca8"/>
    <xsd:import namespace="436efcba-ea16-46f8-8b91-d64e6f1f03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bc8d5f-976e-4ee4-8dfa-c1c3e2bfcc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6efcba-ea16-46f8-8b91-d64e6f1f03e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0D05C5-9432-44E8-8EC2-DFF7E7F9029E}">
  <ds:schemaRefs>
    <ds:schemaRef ds:uri="http://schemas.microsoft.com/office/2006/metadata/properties"/>
    <ds:schemaRef ds:uri="http://purl.org/dc/terms/"/>
    <ds:schemaRef ds:uri="436efcba-ea16-46f8-8b91-d64e6f1f03e5"/>
    <ds:schemaRef ds:uri="http://www.w3.org/XML/1998/namespace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13bc8d5f-976e-4ee4-8dfa-c1c3e2bfcca8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1C35B0C-8492-45E5-B8AD-8BB7CBB5CBBF}">
  <ds:schemaRefs>
    <ds:schemaRef ds:uri="13bc8d5f-976e-4ee4-8dfa-c1c3e2bfcca8"/>
    <ds:schemaRef ds:uri="436efcba-ea16-46f8-8b91-d64e6f1f03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BB11E14-E9E7-4026-8075-4E679BB072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8</Words>
  <Application>Microsoft Office PowerPoint</Application>
  <PresentationFormat>Custom</PresentationFormat>
  <Paragraphs>160</Paragraphs>
  <Slides>2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Arial</vt:lpstr>
      <vt:lpstr>Calibri</vt:lpstr>
      <vt:lpstr>Calibri Light</vt:lpstr>
      <vt:lpstr>Courier New</vt:lpstr>
      <vt:lpstr>Lato Light</vt:lpstr>
      <vt:lpstr>Montserrat Light</vt:lpstr>
      <vt:lpstr>Palatino</vt:lpstr>
      <vt:lpstr>Palatino Linotype</vt:lpstr>
      <vt:lpstr>Trebuchet MS</vt:lpstr>
      <vt:lpstr>Office Theme</vt:lpstr>
      <vt:lpstr>2_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ppa Isbell</dc:creator>
  <cp:lastModifiedBy>Sophie Wannop</cp:lastModifiedBy>
  <cp:revision>160</cp:revision>
  <cp:lastPrinted>2021-02-19T11:23:17Z</cp:lastPrinted>
  <dcterms:created xsi:type="dcterms:W3CDTF">2020-11-22T14:11:28Z</dcterms:created>
  <dcterms:modified xsi:type="dcterms:W3CDTF">2021-03-03T15:5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33892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ntentTypeId">
    <vt:lpwstr>0x010100C18033A711D90040B3829C1AE45B138E</vt:lpwstr>
  </property>
  <property fmtid="{D5CDD505-2E9C-101B-9397-08002B2CF9AE}" pid="6" name="ComplianceAssetId">
    <vt:lpwstr/>
  </property>
  <property fmtid="{D5CDD505-2E9C-101B-9397-08002B2CF9AE}" pid="7" name="TemplateUrl">
    <vt:lpwstr/>
  </property>
</Properties>
</file>